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4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0" r:id="rId2"/>
  </p:sldMasterIdLst>
  <p:notesMasterIdLst>
    <p:notesMasterId r:id="rId17"/>
  </p:notesMasterIdLst>
  <p:sldIdLst>
    <p:sldId id="304" r:id="rId3"/>
    <p:sldId id="259" r:id="rId4"/>
    <p:sldId id="378" r:id="rId5"/>
    <p:sldId id="258" r:id="rId6"/>
    <p:sldId id="282" r:id="rId7"/>
    <p:sldId id="379" r:id="rId8"/>
    <p:sldId id="389" r:id="rId9"/>
    <p:sldId id="380" r:id="rId10"/>
    <p:sldId id="382" r:id="rId11"/>
    <p:sldId id="344" r:id="rId12"/>
    <p:sldId id="346" r:id="rId13"/>
    <p:sldId id="370" r:id="rId14"/>
    <p:sldId id="355" r:id="rId15"/>
    <p:sldId id="356" r:id="rId16"/>
  </p:sldIdLst>
  <p:sldSz cx="9144000" cy="6858000" type="letter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 Brittany Stapelfeld" initials="BRS" lastIdx="7" clrIdx="0"/>
  <p:cmAuthor id="1" name=" " initials=" " lastIdx="1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6C16"/>
    <a:srgbClr val="E98F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30" autoAdjust="0"/>
    <p:restoredTop sz="94857" autoAdjust="0"/>
  </p:normalViewPr>
  <p:slideViewPr>
    <p:cSldViewPr>
      <p:cViewPr varScale="1">
        <p:scale>
          <a:sx n="111" d="100"/>
          <a:sy n="111" d="100"/>
        </p:scale>
        <p:origin x="-1878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5" d="100"/>
          <a:sy n="85" d="100"/>
        </p:scale>
        <p:origin x="3928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5/10/relationships/revisionInfo" Target="revisionInfo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91D7FF-1DF0-4160-994A-FA2F76B79ED8}" type="doc">
      <dgm:prSet loTypeId="urn:microsoft.com/office/officeart/2005/8/layout/hierarchy2" loCatId="hierarchy" qsTypeId="urn:microsoft.com/office/officeart/2005/8/quickstyle/simple1" qsCatId="simple" csTypeId="urn:microsoft.com/office/officeart/2005/8/colors/accent1_3" csCatId="accent1" phldr="1"/>
      <dgm:spPr/>
    </dgm:pt>
    <dgm:pt modelId="{5236EB83-5933-4C84-81DA-965C47F3684E}">
      <dgm:prSet phldrT="[Text]" custT="1"/>
      <dgm:spPr>
        <a:xfrm>
          <a:off x="590149" y="3205359"/>
          <a:ext cx="2177729" cy="1977165"/>
        </a:xfrm>
        <a:prstGeom prst="roundRect">
          <a:avLst>
            <a:gd name="adj" fmla="val 10000"/>
          </a:avLst>
        </a:prstGeo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ves Residential Rehabilitation Services into the MassHealth Benefit</a:t>
          </a:r>
        </a:p>
      </dgm:t>
    </dgm:pt>
    <dgm:pt modelId="{FD768666-3B8F-4BA8-9DFD-FFF32CFDD8A3}" type="parTrans" cxnId="{6525DCE1-5EE8-40B8-A3DF-B68ABDCDAE21}">
      <dgm:prSet/>
      <dgm:spPr/>
      <dgm:t>
        <a:bodyPr/>
        <a:lstStyle/>
        <a:p>
          <a:endParaRPr lang="en-US" sz="1400"/>
        </a:p>
      </dgm:t>
    </dgm:pt>
    <dgm:pt modelId="{51B47198-A126-41F9-BBB6-0862D910CFF2}" type="sibTrans" cxnId="{6525DCE1-5EE8-40B8-A3DF-B68ABDCDAE21}">
      <dgm:prSet custT="1"/>
      <dgm:spPr/>
      <dgm:t>
        <a:bodyPr/>
        <a:lstStyle/>
        <a:p>
          <a:endParaRPr lang="en-US" sz="1400"/>
        </a:p>
      </dgm:t>
    </dgm:pt>
    <dgm:pt modelId="{F5E69D93-899A-4D12-8638-ED3257F6C784}">
      <dgm:prSet custT="1"/>
      <dgm:spPr>
        <a:xfrm>
          <a:off x="3458621" y="3205359"/>
          <a:ext cx="2078712" cy="1977165"/>
        </a:xfrm>
        <a:prstGeom prst="roundRect">
          <a:avLst>
            <a:gd name="adj" fmla="val 10000"/>
          </a:avLst>
        </a:prstGeo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enerates $200 M in new funding over five years for the expansion of Substance Use Disorder (SUD) treatment to address the opioid crisis</a:t>
          </a:r>
        </a:p>
      </dgm:t>
    </dgm:pt>
    <dgm:pt modelId="{252FE422-418E-4706-9164-A742B8D77902}" type="parTrans" cxnId="{3AE2B9E6-E4A1-4EEA-9D1B-641A2B25C8D1}">
      <dgm:prSet/>
      <dgm:spPr/>
      <dgm:t>
        <a:bodyPr/>
        <a:lstStyle/>
        <a:p>
          <a:endParaRPr lang="en-US" sz="1400"/>
        </a:p>
      </dgm:t>
    </dgm:pt>
    <dgm:pt modelId="{4BD6490A-E785-4D78-A8C6-47A694A50B29}" type="sibTrans" cxnId="{3AE2B9E6-E4A1-4EEA-9D1B-641A2B25C8D1}">
      <dgm:prSet custT="1"/>
      <dgm:spPr/>
      <dgm:t>
        <a:bodyPr/>
        <a:lstStyle/>
        <a:p>
          <a:endParaRPr lang="en-US" sz="1400"/>
        </a:p>
      </dgm:t>
    </dgm:pt>
    <dgm:pt modelId="{30828B62-B800-4713-88EC-D39F91999F80}">
      <dgm:prSet custT="1"/>
      <dgm:spPr>
        <a:xfrm>
          <a:off x="6066779" y="2687619"/>
          <a:ext cx="4760658" cy="710573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Additional capacity for 500 residential rehabilitation beds </a:t>
          </a:r>
        </a:p>
      </dgm:t>
    </dgm:pt>
    <dgm:pt modelId="{8770D312-61B6-4726-8417-94701F494163}" type="parTrans" cxnId="{3F43F41F-FF85-4B54-8BB1-1CF457410D5A}">
      <dgm:prSet/>
      <dgm:spPr/>
      <dgm:t>
        <a:bodyPr/>
        <a:lstStyle/>
        <a:p>
          <a:endParaRPr lang="en-US" sz="1400"/>
        </a:p>
      </dgm:t>
    </dgm:pt>
    <dgm:pt modelId="{C5304A35-EBF8-4F26-99AD-9EAB213428B7}" type="sibTrans" cxnId="{3F43F41F-FF85-4B54-8BB1-1CF457410D5A}">
      <dgm:prSet custT="1"/>
      <dgm:spPr/>
      <dgm:t>
        <a:bodyPr/>
        <a:lstStyle/>
        <a:p>
          <a:endParaRPr lang="en-US" sz="1400"/>
        </a:p>
      </dgm:t>
    </dgm:pt>
    <dgm:pt modelId="{6C8A2AC2-C124-45C1-A7EC-36D04DF38327}">
      <dgm:prSet custT="1"/>
      <dgm:spPr>
        <a:xfrm>
          <a:off x="6102249" y="3603442"/>
          <a:ext cx="4760658" cy="710573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Expansion of the MassHealth benefit to cover recovery support navigators, and recovery coaches </a:t>
          </a:r>
        </a:p>
      </dgm:t>
    </dgm:pt>
    <dgm:pt modelId="{0EB5DD31-F903-40D8-92A3-68FEFCA0635D}" type="parTrans" cxnId="{D799BC1B-F611-4357-A0BF-0973A43744C2}">
      <dgm:prSet/>
      <dgm:spPr/>
      <dgm:t>
        <a:bodyPr/>
        <a:lstStyle/>
        <a:p>
          <a:endParaRPr lang="en-US" sz="1400"/>
        </a:p>
      </dgm:t>
    </dgm:pt>
    <dgm:pt modelId="{0002C4F1-B262-4857-8567-BB8A090A6A51}" type="sibTrans" cxnId="{D799BC1B-F611-4357-A0BF-0973A43744C2}">
      <dgm:prSet custT="1"/>
      <dgm:spPr/>
      <dgm:t>
        <a:bodyPr/>
        <a:lstStyle/>
        <a:p>
          <a:endParaRPr lang="en-US" sz="1400"/>
        </a:p>
      </dgm:t>
    </dgm:pt>
    <dgm:pt modelId="{201D8CD7-C1E5-423B-9B64-7AAA0F8E2146}">
      <dgm:prSet custT="1"/>
      <dgm:spPr>
        <a:xfrm>
          <a:off x="6097069" y="4471912"/>
          <a:ext cx="4760658" cy="710573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Increased investment in Medication Assisted Treatment and critical time intervention for homeless and </a:t>
          </a:r>
          <a:r>
            <a:rPr lang="en-US" sz="1400" b="1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justice involved individuals </a:t>
          </a:r>
          <a:endParaRPr lang="en-US" sz="1400" b="1" dirty="0">
            <a:solidFill>
              <a:sysClr val="windowText" lastClr="000000"/>
            </a:solidFill>
            <a:latin typeface="Calibri" panose="020F0502020204030204"/>
            <a:ea typeface="+mn-ea"/>
            <a:cs typeface="+mn-cs"/>
          </a:endParaRPr>
        </a:p>
      </dgm:t>
    </dgm:pt>
    <dgm:pt modelId="{4ADFA36A-1EB3-4CA4-B3F9-E529A2F15A6D}" type="parTrans" cxnId="{1B948AB6-6BC8-47F4-A13F-FB0570B80A06}">
      <dgm:prSet/>
      <dgm:spPr/>
      <dgm:t>
        <a:bodyPr/>
        <a:lstStyle/>
        <a:p>
          <a:endParaRPr lang="en-US" sz="1400"/>
        </a:p>
      </dgm:t>
    </dgm:pt>
    <dgm:pt modelId="{718BBE1B-2DBB-45EC-AA4F-8B428C283FAA}" type="sibTrans" cxnId="{1B948AB6-6BC8-47F4-A13F-FB0570B80A06}">
      <dgm:prSet custT="1"/>
      <dgm:spPr/>
      <dgm:t>
        <a:bodyPr/>
        <a:lstStyle/>
        <a:p>
          <a:endParaRPr lang="en-US" sz="1400"/>
        </a:p>
      </dgm:t>
    </dgm:pt>
    <dgm:pt modelId="{9D58275C-6DEF-4BC1-B33C-BEDC8A715573}">
      <dgm:prSet custT="1"/>
      <dgm:spPr>
        <a:xfrm>
          <a:off x="6126806" y="5373717"/>
          <a:ext cx="4760658" cy="710573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en-US" sz="1400" b="1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MassHealth and the Department of Public Health will adopt a standardized American Society of Addiction Medicine (ASAM) assessment across all SUD providers </a:t>
          </a:r>
        </a:p>
      </dgm:t>
    </dgm:pt>
    <dgm:pt modelId="{2D060FFF-63E8-4C42-B06A-D566D4E9222E}" type="parTrans" cxnId="{92009000-CF85-46BE-B32B-D69303F88C4F}">
      <dgm:prSet/>
      <dgm:spPr/>
      <dgm:t>
        <a:bodyPr/>
        <a:lstStyle/>
        <a:p>
          <a:endParaRPr lang="en-US" sz="1400"/>
        </a:p>
      </dgm:t>
    </dgm:pt>
    <dgm:pt modelId="{73762308-196E-4675-AD22-9AD57D936C19}" type="sibTrans" cxnId="{92009000-CF85-46BE-B32B-D69303F88C4F}">
      <dgm:prSet/>
      <dgm:spPr/>
      <dgm:t>
        <a:bodyPr/>
        <a:lstStyle/>
        <a:p>
          <a:endParaRPr lang="en-US" sz="1400"/>
        </a:p>
      </dgm:t>
    </dgm:pt>
    <dgm:pt modelId="{F4C9767B-87ED-47B7-8E8D-3969A060297F}" type="pres">
      <dgm:prSet presAssocID="{0991D7FF-1DF0-4160-994A-FA2F76B79ED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85F19BE6-8D2D-4A0F-8224-C86016B440B6}" type="pres">
      <dgm:prSet presAssocID="{5236EB83-5933-4C84-81DA-965C47F3684E}" presName="root1" presStyleCnt="0"/>
      <dgm:spPr/>
    </dgm:pt>
    <dgm:pt modelId="{02FCD6FD-50E9-4C26-96E9-2EBF4C326106}" type="pres">
      <dgm:prSet presAssocID="{5236EB83-5933-4C84-81DA-965C47F3684E}" presName="LevelOneTextNode" presStyleLbl="node0" presStyleIdx="0" presStyleCnt="6" custScaleX="55072" custLinFactY="62090" custLinFactNeighborX="-78600" custLinFactNeighborY="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98E4D27A-C97A-45FB-A943-893E2FD45429}" type="pres">
      <dgm:prSet presAssocID="{5236EB83-5933-4C84-81DA-965C47F3684E}" presName="level2hierChild" presStyleCnt="0"/>
      <dgm:spPr/>
    </dgm:pt>
    <dgm:pt modelId="{2D17070C-D68F-464B-AC26-4EFF73116606}" type="pres">
      <dgm:prSet presAssocID="{F5E69D93-899A-4D12-8638-ED3257F6C784}" presName="root1" presStyleCnt="0"/>
      <dgm:spPr/>
    </dgm:pt>
    <dgm:pt modelId="{54A300E1-B0C3-4FE9-88F9-6B92E44DC564}" type="pres">
      <dgm:prSet presAssocID="{F5E69D93-899A-4D12-8638-ED3257F6C784}" presName="LevelOneTextNode" presStyleLbl="node0" presStyleIdx="1" presStyleCnt="6" custScaleX="52568" custLinFactNeighborX="-7419" custLinFactNeighborY="4709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4648390D-64DF-4EBE-8C8A-B697DA84DECA}" type="pres">
      <dgm:prSet presAssocID="{F5E69D93-899A-4D12-8638-ED3257F6C784}" presName="level2hierChild" presStyleCnt="0"/>
      <dgm:spPr/>
    </dgm:pt>
    <dgm:pt modelId="{2905514C-B851-45D8-B100-BEC500594848}" type="pres">
      <dgm:prSet presAssocID="{30828B62-B800-4713-88EC-D39F91999F80}" presName="root1" presStyleCnt="0"/>
      <dgm:spPr/>
    </dgm:pt>
    <dgm:pt modelId="{EB56D14A-286F-411F-863D-D2E0676D54CE}" type="pres">
      <dgm:prSet presAssocID="{30828B62-B800-4713-88EC-D39F91999F80}" presName="LevelOneTextNode" presStyleLbl="node0" presStyleIdx="2" presStyleCnt="6" custScaleX="120391" custScaleY="35939" custLinFactNeighborX="59897" custLinFactNeighborY="-94096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0B4AFA0-5F12-4954-82E1-91D174DF22A3}" type="pres">
      <dgm:prSet presAssocID="{30828B62-B800-4713-88EC-D39F91999F80}" presName="level2hierChild" presStyleCnt="0"/>
      <dgm:spPr/>
    </dgm:pt>
    <dgm:pt modelId="{01B4E1C9-4793-4251-A701-7B0AE0DA4629}" type="pres">
      <dgm:prSet presAssocID="{6C8A2AC2-C124-45C1-A7EC-36D04DF38327}" presName="root1" presStyleCnt="0"/>
      <dgm:spPr/>
    </dgm:pt>
    <dgm:pt modelId="{B0864D1E-A339-4479-946F-82147E865125}" type="pres">
      <dgm:prSet presAssocID="{6C8A2AC2-C124-45C1-A7EC-36D04DF38327}" presName="LevelOneTextNode" presStyleLbl="node0" presStyleIdx="3" presStyleCnt="6" custScaleX="120391" custScaleY="35939" custLinFactNeighborX="60794" custLinFactNeighborY="-98715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A57302A4-21D5-427B-9DA2-F66C04340C58}" type="pres">
      <dgm:prSet presAssocID="{6C8A2AC2-C124-45C1-A7EC-36D04DF38327}" presName="level2hierChild" presStyleCnt="0"/>
      <dgm:spPr/>
    </dgm:pt>
    <dgm:pt modelId="{1613D19B-6047-476E-A3AF-04D163A189A0}" type="pres">
      <dgm:prSet presAssocID="{201D8CD7-C1E5-423B-9B64-7AAA0F8E2146}" presName="root1" presStyleCnt="0"/>
      <dgm:spPr/>
    </dgm:pt>
    <dgm:pt modelId="{E6B17FA2-048F-4AA0-83F2-350117C08345}" type="pres">
      <dgm:prSet presAssocID="{201D8CD7-C1E5-423B-9B64-7AAA0F8E2146}" presName="LevelOneTextNode" presStyleLbl="node0" presStyleIdx="4" presStyleCnt="6" custScaleX="120391" custScaleY="35939" custLinFactY="-5729" custLinFactNeighborX="60663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3E083478-02D8-4C39-B0D0-9B6220EB6714}" type="pres">
      <dgm:prSet presAssocID="{201D8CD7-C1E5-423B-9B64-7AAA0F8E2146}" presName="level2hierChild" presStyleCnt="0"/>
      <dgm:spPr/>
    </dgm:pt>
    <dgm:pt modelId="{7C9EB61E-4A69-4B6D-AC46-75FC25AB7321}" type="pres">
      <dgm:prSet presAssocID="{9D58275C-6DEF-4BC1-B33C-BEDC8A715573}" presName="root1" presStyleCnt="0"/>
      <dgm:spPr/>
    </dgm:pt>
    <dgm:pt modelId="{C3E1B01E-1C7B-4A5E-9B06-DBDBEBC088A8}" type="pres">
      <dgm:prSet presAssocID="{9D58275C-6DEF-4BC1-B33C-BEDC8A715573}" presName="LevelOneTextNode" presStyleLbl="node0" presStyleIdx="5" presStyleCnt="6" custScaleX="120391" custScaleY="35939" custLinFactY="-11057" custLinFactNeighborX="61415" custLinFactNeighborY="-100000">
        <dgm:presLayoutVars>
          <dgm:chPref val="3"/>
        </dgm:presLayoutVars>
      </dgm:prSet>
      <dgm:spPr/>
      <dgm:t>
        <a:bodyPr/>
        <a:lstStyle/>
        <a:p>
          <a:endParaRPr lang="en-US"/>
        </a:p>
      </dgm:t>
    </dgm:pt>
    <dgm:pt modelId="{8C9C9009-B6BA-4F6E-9780-8818BA2BCD3D}" type="pres">
      <dgm:prSet presAssocID="{9D58275C-6DEF-4BC1-B33C-BEDC8A715573}" presName="level2hierChild" presStyleCnt="0"/>
      <dgm:spPr/>
    </dgm:pt>
  </dgm:ptLst>
  <dgm:cxnLst>
    <dgm:cxn modelId="{3F43F41F-FF85-4B54-8BB1-1CF457410D5A}" srcId="{0991D7FF-1DF0-4160-994A-FA2F76B79ED8}" destId="{30828B62-B800-4713-88EC-D39F91999F80}" srcOrd="2" destOrd="0" parTransId="{8770D312-61B6-4726-8417-94701F494163}" sibTransId="{C5304A35-EBF8-4F26-99AD-9EAB213428B7}"/>
    <dgm:cxn modelId="{1ACFE013-3F73-4D20-95DC-CCF2BD1700A2}" type="presOf" srcId="{201D8CD7-C1E5-423B-9B64-7AAA0F8E2146}" destId="{E6B17FA2-048F-4AA0-83F2-350117C08345}" srcOrd="0" destOrd="0" presId="urn:microsoft.com/office/officeart/2005/8/layout/hierarchy2"/>
    <dgm:cxn modelId="{D799BC1B-F611-4357-A0BF-0973A43744C2}" srcId="{0991D7FF-1DF0-4160-994A-FA2F76B79ED8}" destId="{6C8A2AC2-C124-45C1-A7EC-36D04DF38327}" srcOrd="3" destOrd="0" parTransId="{0EB5DD31-F903-40D8-92A3-68FEFCA0635D}" sibTransId="{0002C4F1-B262-4857-8567-BB8A090A6A51}"/>
    <dgm:cxn modelId="{6525DCE1-5EE8-40B8-A3DF-B68ABDCDAE21}" srcId="{0991D7FF-1DF0-4160-994A-FA2F76B79ED8}" destId="{5236EB83-5933-4C84-81DA-965C47F3684E}" srcOrd="0" destOrd="0" parTransId="{FD768666-3B8F-4BA8-9DFD-FFF32CFDD8A3}" sibTransId="{51B47198-A126-41F9-BBB6-0862D910CFF2}"/>
    <dgm:cxn modelId="{A347309A-F285-41F8-AA53-CA563F3F6DFF}" type="presOf" srcId="{5236EB83-5933-4C84-81DA-965C47F3684E}" destId="{02FCD6FD-50E9-4C26-96E9-2EBF4C326106}" srcOrd="0" destOrd="0" presId="urn:microsoft.com/office/officeart/2005/8/layout/hierarchy2"/>
    <dgm:cxn modelId="{92009000-CF85-46BE-B32B-D69303F88C4F}" srcId="{0991D7FF-1DF0-4160-994A-FA2F76B79ED8}" destId="{9D58275C-6DEF-4BC1-B33C-BEDC8A715573}" srcOrd="5" destOrd="0" parTransId="{2D060FFF-63E8-4C42-B06A-D566D4E9222E}" sibTransId="{73762308-196E-4675-AD22-9AD57D936C19}"/>
    <dgm:cxn modelId="{54ECC626-30AF-4905-B82F-1125DA2DB323}" type="presOf" srcId="{6C8A2AC2-C124-45C1-A7EC-36D04DF38327}" destId="{B0864D1E-A339-4479-946F-82147E865125}" srcOrd="0" destOrd="0" presId="urn:microsoft.com/office/officeart/2005/8/layout/hierarchy2"/>
    <dgm:cxn modelId="{D40FDE75-CFBE-4CF4-BE47-80E76DEE7806}" type="presOf" srcId="{30828B62-B800-4713-88EC-D39F91999F80}" destId="{EB56D14A-286F-411F-863D-D2E0676D54CE}" srcOrd="0" destOrd="0" presId="urn:microsoft.com/office/officeart/2005/8/layout/hierarchy2"/>
    <dgm:cxn modelId="{3AE2B9E6-E4A1-4EEA-9D1B-641A2B25C8D1}" srcId="{0991D7FF-1DF0-4160-994A-FA2F76B79ED8}" destId="{F5E69D93-899A-4D12-8638-ED3257F6C784}" srcOrd="1" destOrd="0" parTransId="{252FE422-418E-4706-9164-A742B8D77902}" sibTransId="{4BD6490A-E785-4D78-A8C6-47A694A50B29}"/>
    <dgm:cxn modelId="{72BB8234-29BA-458B-B0A9-07B744A41DD2}" type="presOf" srcId="{F5E69D93-899A-4D12-8638-ED3257F6C784}" destId="{54A300E1-B0C3-4FE9-88F9-6B92E44DC564}" srcOrd="0" destOrd="0" presId="urn:microsoft.com/office/officeart/2005/8/layout/hierarchy2"/>
    <dgm:cxn modelId="{1B948AB6-6BC8-47F4-A13F-FB0570B80A06}" srcId="{0991D7FF-1DF0-4160-994A-FA2F76B79ED8}" destId="{201D8CD7-C1E5-423B-9B64-7AAA0F8E2146}" srcOrd="4" destOrd="0" parTransId="{4ADFA36A-1EB3-4CA4-B3F9-E529A2F15A6D}" sibTransId="{718BBE1B-2DBB-45EC-AA4F-8B428C283FAA}"/>
    <dgm:cxn modelId="{54E6D42D-5278-4A77-B5BD-BF7445C0644C}" type="presOf" srcId="{9D58275C-6DEF-4BC1-B33C-BEDC8A715573}" destId="{C3E1B01E-1C7B-4A5E-9B06-DBDBEBC088A8}" srcOrd="0" destOrd="0" presId="urn:microsoft.com/office/officeart/2005/8/layout/hierarchy2"/>
    <dgm:cxn modelId="{6C08B1E4-E1EF-41C2-8A9A-F6ABE660B357}" type="presOf" srcId="{0991D7FF-1DF0-4160-994A-FA2F76B79ED8}" destId="{F4C9767B-87ED-47B7-8E8D-3969A060297F}" srcOrd="0" destOrd="0" presId="urn:microsoft.com/office/officeart/2005/8/layout/hierarchy2"/>
    <dgm:cxn modelId="{94C11F69-90F7-4570-A24B-2C3099C8941E}" type="presParOf" srcId="{F4C9767B-87ED-47B7-8E8D-3969A060297F}" destId="{85F19BE6-8D2D-4A0F-8224-C86016B440B6}" srcOrd="0" destOrd="0" presId="urn:microsoft.com/office/officeart/2005/8/layout/hierarchy2"/>
    <dgm:cxn modelId="{9E3042E2-B2E5-400A-9212-448E16874A81}" type="presParOf" srcId="{85F19BE6-8D2D-4A0F-8224-C86016B440B6}" destId="{02FCD6FD-50E9-4C26-96E9-2EBF4C326106}" srcOrd="0" destOrd="0" presId="urn:microsoft.com/office/officeart/2005/8/layout/hierarchy2"/>
    <dgm:cxn modelId="{2D740E97-4379-4E3A-B5FF-37A4FA746D34}" type="presParOf" srcId="{85F19BE6-8D2D-4A0F-8224-C86016B440B6}" destId="{98E4D27A-C97A-45FB-A943-893E2FD45429}" srcOrd="1" destOrd="0" presId="urn:microsoft.com/office/officeart/2005/8/layout/hierarchy2"/>
    <dgm:cxn modelId="{3956312C-F292-410D-BC2A-68CE9B55C987}" type="presParOf" srcId="{F4C9767B-87ED-47B7-8E8D-3969A060297F}" destId="{2D17070C-D68F-464B-AC26-4EFF73116606}" srcOrd="1" destOrd="0" presId="urn:microsoft.com/office/officeart/2005/8/layout/hierarchy2"/>
    <dgm:cxn modelId="{9D78B842-5DE8-4F2B-9D1B-6ABE2A41CE88}" type="presParOf" srcId="{2D17070C-D68F-464B-AC26-4EFF73116606}" destId="{54A300E1-B0C3-4FE9-88F9-6B92E44DC564}" srcOrd="0" destOrd="0" presId="urn:microsoft.com/office/officeart/2005/8/layout/hierarchy2"/>
    <dgm:cxn modelId="{E9585B64-527B-47B8-A11C-97A6BE8D20AE}" type="presParOf" srcId="{2D17070C-D68F-464B-AC26-4EFF73116606}" destId="{4648390D-64DF-4EBE-8C8A-B697DA84DECA}" srcOrd="1" destOrd="0" presId="urn:microsoft.com/office/officeart/2005/8/layout/hierarchy2"/>
    <dgm:cxn modelId="{F7228F3C-9F3C-4AC6-A56F-12A883182DAE}" type="presParOf" srcId="{F4C9767B-87ED-47B7-8E8D-3969A060297F}" destId="{2905514C-B851-45D8-B100-BEC500594848}" srcOrd="2" destOrd="0" presId="urn:microsoft.com/office/officeart/2005/8/layout/hierarchy2"/>
    <dgm:cxn modelId="{07DFF4A1-FF08-4E7B-9D34-3A862A34A889}" type="presParOf" srcId="{2905514C-B851-45D8-B100-BEC500594848}" destId="{EB56D14A-286F-411F-863D-D2E0676D54CE}" srcOrd="0" destOrd="0" presId="urn:microsoft.com/office/officeart/2005/8/layout/hierarchy2"/>
    <dgm:cxn modelId="{6B34704F-6A0D-4128-A2CF-BF929D756E03}" type="presParOf" srcId="{2905514C-B851-45D8-B100-BEC500594848}" destId="{30B4AFA0-5F12-4954-82E1-91D174DF22A3}" srcOrd="1" destOrd="0" presId="urn:microsoft.com/office/officeart/2005/8/layout/hierarchy2"/>
    <dgm:cxn modelId="{15DE7E7A-2946-437A-A2F9-B14AF4B9CE62}" type="presParOf" srcId="{F4C9767B-87ED-47B7-8E8D-3969A060297F}" destId="{01B4E1C9-4793-4251-A701-7B0AE0DA4629}" srcOrd="3" destOrd="0" presId="urn:microsoft.com/office/officeart/2005/8/layout/hierarchy2"/>
    <dgm:cxn modelId="{80C2150A-45A6-4461-898B-6DC72FF27478}" type="presParOf" srcId="{01B4E1C9-4793-4251-A701-7B0AE0DA4629}" destId="{B0864D1E-A339-4479-946F-82147E865125}" srcOrd="0" destOrd="0" presId="urn:microsoft.com/office/officeart/2005/8/layout/hierarchy2"/>
    <dgm:cxn modelId="{45CB7D58-C544-4B11-BA0A-E9D836C091C1}" type="presParOf" srcId="{01B4E1C9-4793-4251-A701-7B0AE0DA4629}" destId="{A57302A4-21D5-427B-9DA2-F66C04340C58}" srcOrd="1" destOrd="0" presId="urn:microsoft.com/office/officeart/2005/8/layout/hierarchy2"/>
    <dgm:cxn modelId="{E3F90025-1E44-4C25-99B1-68C94BE552AC}" type="presParOf" srcId="{F4C9767B-87ED-47B7-8E8D-3969A060297F}" destId="{1613D19B-6047-476E-A3AF-04D163A189A0}" srcOrd="4" destOrd="0" presId="urn:microsoft.com/office/officeart/2005/8/layout/hierarchy2"/>
    <dgm:cxn modelId="{1D6A5085-5C59-48B7-8784-BD70EC7532A3}" type="presParOf" srcId="{1613D19B-6047-476E-A3AF-04D163A189A0}" destId="{E6B17FA2-048F-4AA0-83F2-350117C08345}" srcOrd="0" destOrd="0" presId="urn:microsoft.com/office/officeart/2005/8/layout/hierarchy2"/>
    <dgm:cxn modelId="{978135FB-8CCE-418D-9E3C-41E908EA5435}" type="presParOf" srcId="{1613D19B-6047-476E-A3AF-04D163A189A0}" destId="{3E083478-02D8-4C39-B0D0-9B6220EB6714}" srcOrd="1" destOrd="0" presId="urn:microsoft.com/office/officeart/2005/8/layout/hierarchy2"/>
    <dgm:cxn modelId="{5951F775-2DBD-432F-AC71-3AD1DD312C4C}" type="presParOf" srcId="{F4C9767B-87ED-47B7-8E8D-3969A060297F}" destId="{7C9EB61E-4A69-4B6D-AC46-75FC25AB7321}" srcOrd="5" destOrd="0" presId="urn:microsoft.com/office/officeart/2005/8/layout/hierarchy2"/>
    <dgm:cxn modelId="{6AA0B8F4-3FAD-4226-A123-0304175EB139}" type="presParOf" srcId="{7C9EB61E-4A69-4B6D-AC46-75FC25AB7321}" destId="{C3E1B01E-1C7B-4A5E-9B06-DBDBEBC088A8}" srcOrd="0" destOrd="0" presId="urn:microsoft.com/office/officeart/2005/8/layout/hierarchy2"/>
    <dgm:cxn modelId="{00554D83-3E34-478B-8257-FD9AE71E8AC8}" type="presParOf" srcId="{7C9EB61E-4A69-4B6D-AC46-75FC25AB7321}" destId="{8C9C9009-B6BA-4F6E-9780-8818BA2BCD3D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FCD6FD-50E9-4C26-96E9-2EBF4C326106}">
      <dsp:nvSpPr>
        <dsp:cNvPr id="0" name=""/>
        <dsp:cNvSpPr/>
      </dsp:nvSpPr>
      <dsp:spPr>
        <a:xfrm>
          <a:off x="158355" y="2733419"/>
          <a:ext cx="1857091" cy="1686057"/>
        </a:xfrm>
        <a:prstGeom prst="roundRect">
          <a:avLst>
            <a:gd name="adj" fmla="val 10000"/>
          </a:avLst>
        </a:prstGeo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Moves Residential Rehabilitation Services into the MassHealth Benefit</a:t>
          </a:r>
        </a:p>
      </dsp:txBody>
      <dsp:txXfrm>
        <a:off x="207738" y="2782802"/>
        <a:ext cx="1758325" cy="1587291"/>
      </dsp:txXfrm>
    </dsp:sp>
    <dsp:sp modelId="{54A300E1-B0C3-4FE9-88F9-6B92E44DC564}">
      <dsp:nvSpPr>
        <dsp:cNvPr id="0" name=""/>
        <dsp:cNvSpPr/>
      </dsp:nvSpPr>
      <dsp:spPr>
        <a:xfrm>
          <a:off x="2558661" y="2733419"/>
          <a:ext cx="1772653" cy="1686057"/>
        </a:xfrm>
        <a:prstGeom prst="roundRect">
          <a:avLst>
            <a:gd name="adj" fmla="val 10000"/>
          </a:avLst>
        </a:prstGeom>
        <a:solidFill>
          <a:srgbClr val="4472C4">
            <a:shade val="80000"/>
            <a:hueOff val="0"/>
            <a:satOff val="0"/>
            <a:lumOff val="0"/>
            <a:alphaOff val="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" lastClr="FFFFFF"/>
              </a:solidFill>
              <a:latin typeface="Calibri" panose="020F0502020204030204"/>
              <a:ea typeface="+mn-ea"/>
              <a:cs typeface="+mn-cs"/>
            </a:rPr>
            <a:t>Generates $200 M in new funding over five years for the expansion of Substance Use Disorder (SUD) treatment to address the opioid crisis</a:t>
          </a:r>
        </a:p>
      </dsp:txBody>
      <dsp:txXfrm>
        <a:off x="2608044" y="2782802"/>
        <a:ext cx="1673887" cy="1587291"/>
      </dsp:txXfrm>
    </dsp:sp>
    <dsp:sp modelId="{EB56D14A-286F-411F-863D-D2E0676D54CE}">
      <dsp:nvSpPr>
        <dsp:cNvPr id="0" name=""/>
        <dsp:cNvSpPr/>
      </dsp:nvSpPr>
      <dsp:spPr>
        <a:xfrm>
          <a:off x="4828634" y="2291907"/>
          <a:ext cx="4059723" cy="605952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Additional capacity for 500 residential rehabilitation beds </a:t>
          </a:r>
        </a:p>
      </dsp:txBody>
      <dsp:txXfrm>
        <a:off x="4846382" y="2309655"/>
        <a:ext cx="4024227" cy="570456"/>
      </dsp:txXfrm>
    </dsp:sp>
    <dsp:sp modelId="{B0864D1E-A339-4479-946F-82147E865125}">
      <dsp:nvSpPr>
        <dsp:cNvPr id="0" name=""/>
        <dsp:cNvSpPr/>
      </dsp:nvSpPr>
      <dsp:spPr>
        <a:xfrm>
          <a:off x="4858882" y="3072889"/>
          <a:ext cx="4059723" cy="605952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Expansion of the MassHealth benefit to cover recovery support navigators, and recovery coaches </a:t>
          </a:r>
        </a:p>
      </dsp:txBody>
      <dsp:txXfrm>
        <a:off x="4876630" y="3090637"/>
        <a:ext cx="4024227" cy="570456"/>
      </dsp:txXfrm>
    </dsp:sp>
    <dsp:sp modelId="{E6B17FA2-048F-4AA0-83F2-350117C08345}">
      <dsp:nvSpPr>
        <dsp:cNvPr id="0" name=""/>
        <dsp:cNvSpPr/>
      </dsp:nvSpPr>
      <dsp:spPr>
        <a:xfrm>
          <a:off x="4854464" y="3813490"/>
          <a:ext cx="4059723" cy="605952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Increased investment in Medication Assisted Treatment and critical time intervention for homeless and </a:t>
          </a:r>
          <a:r>
            <a:rPr lang="en-US" sz="1400" b="1" kern="120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justice involved individuals </a:t>
          </a:r>
          <a:endParaRPr lang="en-US" sz="1400" b="1" kern="1200" dirty="0">
            <a:solidFill>
              <a:sysClr val="windowText" lastClr="000000"/>
            </a:solidFill>
            <a:latin typeface="Calibri" panose="020F0502020204030204"/>
            <a:ea typeface="+mn-ea"/>
            <a:cs typeface="+mn-cs"/>
          </a:endParaRPr>
        </a:p>
      </dsp:txBody>
      <dsp:txXfrm>
        <a:off x="4872212" y="3831238"/>
        <a:ext cx="4024227" cy="570456"/>
      </dsp:txXfrm>
    </dsp:sp>
    <dsp:sp modelId="{C3E1B01E-1C7B-4A5E-9B06-DBDBEBC088A8}">
      <dsp:nvSpPr>
        <dsp:cNvPr id="0" name=""/>
        <dsp:cNvSpPr/>
      </dsp:nvSpPr>
      <dsp:spPr>
        <a:xfrm>
          <a:off x="4879822" y="4582518"/>
          <a:ext cx="4059723" cy="605952"/>
        </a:xfrm>
        <a:prstGeom prst="roundRect">
          <a:avLst>
            <a:gd name="adj" fmla="val 10000"/>
          </a:avLst>
        </a:prstGeom>
        <a:solidFill>
          <a:srgbClr val="4472C4">
            <a:lumMod val="40000"/>
            <a:lumOff val="60000"/>
          </a:srgbClr>
        </a:solidFill>
        <a:ln w="127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ysClr val="windowText" lastClr="000000"/>
              </a:solidFill>
              <a:latin typeface="Calibri" panose="020F0502020204030204"/>
              <a:ea typeface="+mn-ea"/>
              <a:cs typeface="+mn-cs"/>
            </a:rPr>
            <a:t>MassHealth and the Department of Public Health will adopt a standardized American Society of Addiction Medicine (ASAM) assessment across all SUD providers </a:t>
          </a:r>
        </a:p>
      </dsp:txBody>
      <dsp:txXfrm>
        <a:off x="4897570" y="4600266"/>
        <a:ext cx="4024227" cy="57045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/>
          <a:lstStyle>
            <a:lvl1pPr algn="r">
              <a:defRPr sz="1200"/>
            </a:lvl1pPr>
          </a:lstStyle>
          <a:p>
            <a:fld id="{0D7D1AB0-8B82-4624-89F7-D9E30BD087BC}" type="datetimeFigureOut">
              <a:rPr lang="en-US" smtClean="0"/>
              <a:pPr/>
              <a:t>1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30" tIns="46465" rIns="92930" bIns="46465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1"/>
            <a:ext cx="5608320" cy="4183380"/>
          </a:xfrm>
          <a:prstGeom prst="rect">
            <a:avLst/>
          </a:prstGeom>
        </p:spPr>
        <p:txBody>
          <a:bodyPr vert="horz" lIns="92930" tIns="46465" rIns="92930" bIns="4646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7"/>
            <a:ext cx="3037840" cy="464820"/>
          </a:xfrm>
          <a:prstGeom prst="rect">
            <a:avLst/>
          </a:prstGeom>
        </p:spPr>
        <p:txBody>
          <a:bodyPr vert="horz" lIns="92930" tIns="46465" rIns="92930" bIns="46465" rtlCol="0" anchor="b"/>
          <a:lstStyle>
            <a:lvl1pPr algn="r">
              <a:defRPr sz="1200"/>
            </a:lvl1pPr>
          </a:lstStyle>
          <a:p>
            <a:fld id="{711D8588-45D3-4A72-B4AB-6B1234C33F5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4448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6852442" y="8505914"/>
            <a:ext cx="86847" cy="18897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55018" indent="-290391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61567" indent="-232313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26194" indent="-232313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90821" indent="-232313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55447" indent="-232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3020073" indent="-232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84700" indent="-232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949327" indent="-232313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>
                <a:solidFill>
                  <a:prstClr val="black"/>
                </a:solidFill>
              </a:rPr>
              <a:pPr eaLnBrk="1" hangingPunct="1"/>
              <a:t>1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2800" y="592138"/>
            <a:ext cx="5546725" cy="4159250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603263" y="4766066"/>
            <a:ext cx="6348290" cy="251960"/>
          </a:xfrm>
          <a:noFill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41173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Os:</a:t>
            </a:r>
          </a:p>
          <a:p>
            <a:pPr marL="170986" indent="-170986">
              <a:buFont typeface="Arial" panose="020B0604020202020204" pitchFamily="34" charset="0"/>
              <a:buChar char="•"/>
            </a:pPr>
            <a:r>
              <a:rPr lang="en-US" dirty="0"/>
              <a:t>Have an enhanced role for primary care,</a:t>
            </a:r>
          </a:p>
          <a:p>
            <a:pPr marL="170986" indent="-170986">
              <a:buFont typeface="Arial" panose="020B0604020202020204" pitchFamily="34" charset="0"/>
              <a:buChar char="•"/>
            </a:pPr>
            <a:r>
              <a:rPr lang="en-US" dirty="0"/>
              <a:t>Are rewarded for value – better cost and outcomes – not volume</a:t>
            </a:r>
          </a:p>
          <a:p>
            <a:pPr marL="170986" indent="-170986">
              <a:buFont typeface="Arial" panose="020B0604020202020204" pitchFamily="34" charset="0"/>
              <a:buChar char="•"/>
            </a:pPr>
            <a:r>
              <a:rPr lang="en-US" dirty="0"/>
              <a:t>Have a major and unique focus on better integrating our members’ physical, behavioral health (BH), and long term services and supports (LTSS) needs, as well as building linkages to social services</a:t>
            </a:r>
            <a:endParaRPr lang="en-US" b="0" dirty="0">
              <a:solidFill>
                <a:srgbClr val="041E42"/>
              </a:solidFill>
            </a:endParaRPr>
          </a:p>
          <a:p>
            <a:pPr defTabSz="911927">
              <a:defRPr/>
            </a:pPr>
            <a:endParaRPr lang="en-US" dirty="0">
              <a:solidFill>
                <a:srgbClr val="041E42"/>
              </a:solidFill>
            </a:endParaRPr>
          </a:p>
          <a:p>
            <a:pPr defTabSz="911927">
              <a:defRPr/>
            </a:pPr>
            <a:endParaRPr lang="en-US" dirty="0">
              <a:solidFill>
                <a:srgbClr val="041E42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89303D-DE55-4260-8DA9-8ABC1E79449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4162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0FDFA2-4BFD-47E4-8C6A-84A72A411BAE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7583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76257" y="4913442"/>
            <a:ext cx="5911957" cy="242185"/>
          </a:xfrm>
        </p:spPr>
        <p:txBody>
          <a:bodyPr/>
          <a:lstStyle/>
          <a:p>
            <a:pPr defTabSz="890993"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0110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DA840A-D79C-49D2-8272-0CC0EAE0DE1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14714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any given year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8054A6-9463-4B91-A892-628DA000092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2394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8" y="4995330"/>
            <a:ext cx="6043334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8895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8054A6-9463-4B91-A892-628DA000092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820795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86838" y="4995330"/>
            <a:ext cx="6043334" cy="246221"/>
          </a:xfrm>
        </p:spPr>
        <p:txBody>
          <a:bodyPr/>
          <a:lstStyle/>
          <a:p>
            <a:pPr marL="0" indent="0" defTabSz="898734">
              <a:lnSpc>
                <a:spcPct val="150000"/>
              </a:lnSpc>
              <a:buFont typeface="+mj-lt"/>
              <a:buNone/>
            </a:pPr>
            <a:r>
              <a:rPr lang="en-US" sz="1400" dirty="0">
                <a:latin typeface="Arial"/>
              </a:rPr>
              <a:t>Talking point </a:t>
            </a:r>
            <a:r>
              <a:rPr lang="mr-IN" sz="1400" dirty="0">
                <a:latin typeface="Arial"/>
              </a:rPr>
              <a:t>–</a:t>
            </a:r>
            <a:r>
              <a:rPr lang="en-US" sz="1400" baseline="0" dirty="0">
                <a:latin typeface="Arial"/>
              </a:rPr>
              <a:t> BH </a:t>
            </a:r>
            <a:r>
              <a:rPr lang="en-US" sz="1400" dirty="0">
                <a:latin typeface="Arial"/>
              </a:rPr>
              <a:t>CP</a:t>
            </a:r>
            <a:r>
              <a:rPr lang="en-US" sz="1400" baseline="0" dirty="0">
                <a:latin typeface="Arial"/>
              </a:rPr>
              <a:t> functions include: </a:t>
            </a:r>
          </a:p>
          <a:p>
            <a:pPr marL="0" indent="0" defTabSz="898734">
              <a:lnSpc>
                <a:spcPct val="150000"/>
              </a:lnSpc>
              <a:buFont typeface="+mj-lt"/>
              <a:buNone/>
            </a:pPr>
            <a:endParaRPr lang="en-US" sz="1400" dirty="0">
              <a:latin typeface="Arial"/>
            </a:endParaRP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Outreach and engagement;</a:t>
            </a: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Comprehensive assessment and person-centered treatment planning; </a:t>
            </a: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Care Coordination &amp; Care Management, including across</a:t>
            </a:r>
          </a:p>
          <a:p>
            <a:pPr marL="802469" lvl="1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Medical</a:t>
            </a:r>
          </a:p>
          <a:p>
            <a:pPr marL="802469" lvl="1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Behavioral Health</a:t>
            </a:r>
          </a:p>
          <a:p>
            <a:pPr marL="802469" lvl="1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Long Term Services and Supports;</a:t>
            </a: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Care Transitions;</a:t>
            </a: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Medication Reconciliation;</a:t>
            </a:r>
          </a:p>
          <a:p>
            <a:pPr marL="346025" indent="-346025" defTabSz="898734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latin typeface="Arial"/>
              </a:rPr>
              <a:t>Health and Wellness Coaching; and</a:t>
            </a:r>
          </a:p>
          <a:p>
            <a:pPr marL="339970" indent="-339970" defTabSz="905238">
              <a:lnSpc>
                <a:spcPct val="150000"/>
              </a:lnSpc>
              <a:buFont typeface="+mj-lt"/>
              <a:buAutoNum type="arabicPeriod"/>
            </a:pPr>
            <a:r>
              <a:rPr lang="en-US" sz="1400" dirty="0">
                <a:solidFill>
                  <a:srgbClr val="000000"/>
                </a:solidFill>
                <a:latin typeface="Arial"/>
              </a:rPr>
              <a:t>Connection to Social Services and Community Resources, including Flexible Services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29085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3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5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8" y="4879406"/>
            <a:ext cx="5036085" cy="484305"/>
            <a:chOff x="1663" y="3109"/>
            <a:chExt cx="3109" cy="299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9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8" y="2648245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8" y="3770661"/>
            <a:ext cx="5539245" cy="215444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5" y="3245971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2" y="3245971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7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8" y="2029607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53415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0648" y="651601"/>
            <a:ext cx="8401347" cy="75725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71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0648" y="317504"/>
            <a:ext cx="8401347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0648" y="1666256"/>
            <a:ext cx="8401347" cy="471294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2899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695" y="234863"/>
            <a:ext cx="6020740" cy="2923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125611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8753" tIns="44380" rIns="88753" bIns="44380"/>
          <a:lstStyle>
            <a:lvl1pPr defTabSz="905334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7E3E4E3A-A719-6945-8391-26E3F5445B3E}" type="datetimeFigureOut">
              <a:rPr lang="en-US" sz="1837" smtClean="0">
                <a:solidFill>
                  <a:srgbClr val="000000"/>
                </a:solidFill>
              </a:rPr>
              <a:pPr/>
              <a:t>1/22/2018</a:t>
            </a:fld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lIns="88753" tIns="44380" rIns="88753" bIns="44380"/>
          <a:lstStyle>
            <a:lvl1pPr defTabSz="905334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endParaRPr lang="en-US" sz="1837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8753" tIns="44380" rIns="88753" bIns="44380"/>
          <a:lstStyle>
            <a:lvl1pPr defTabSz="905334"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fld id="{D6E1A9CA-DFDF-864D-BB39-E8E20413833E}" type="slidenum">
              <a:rPr lang="en-US" sz="1837" smtClean="0">
                <a:solidFill>
                  <a:srgbClr val="000000"/>
                </a:solidFill>
              </a:rPr>
              <a:pPr/>
              <a:t>‹#›</a:t>
            </a:fld>
            <a:endParaRPr lang="en-US" sz="1837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9997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okmark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274638" y="282237"/>
            <a:ext cx="8597900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36728" y="895350"/>
            <a:ext cx="831148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5"/>
          </p:nvPr>
        </p:nvSpPr>
        <p:spPr>
          <a:xfrm>
            <a:off x="436728" y="1400175"/>
            <a:ext cx="8311487" cy="11900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50162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ookmark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274638" y="282237"/>
            <a:ext cx="8597900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36728" y="895350"/>
            <a:ext cx="831148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5"/>
          </p:nvPr>
        </p:nvSpPr>
        <p:spPr>
          <a:xfrm>
            <a:off x="436728" y="1400175"/>
            <a:ext cx="8311487" cy="1190069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54731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391400" y="6245225"/>
            <a:ext cx="15240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BFA902-F7A8-4A93-B91F-9ADBF2CFE187}" type="slidenum">
              <a:rPr lang="en-US">
                <a:solidFill>
                  <a:srgbClr val="00006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0079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McK Title Elements" hidden="1"/>
          <p:cNvGrpSpPr/>
          <p:nvPr userDrawn="1"/>
        </p:nvGrpSpPr>
        <p:grpSpPr>
          <a:xfrm>
            <a:off x="2693808" y="5161569"/>
            <a:ext cx="5225605" cy="1103605"/>
            <a:chOff x="2640013" y="5058815"/>
            <a:chExt cx="5121275" cy="10816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2640013" y="5058815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>
                  <a:latin typeface="+mn-lt"/>
                </a:rPr>
                <a:t>Document type</a:t>
              </a:r>
              <a:endParaRPr lang="en-US" sz="1428" baseline="0" noProof="0" dirty="0">
                <a:latin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2640013" y="5330943"/>
              <a:ext cx="4935538" cy="21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28" baseline="0" noProof="0" dirty="0">
                  <a:latin typeface="+mn-lt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2640013" y="5889356"/>
              <a:ext cx="5121275" cy="2510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158" eaLnBrk="0" hangingPunct="0"/>
              <a:r>
                <a:rPr lang="en-US" sz="816" baseline="0" noProof="0" dirty="0">
                  <a:latin typeface="+mn-lt"/>
                </a:rPr>
                <a:t>CONFIDENTIAL AND PROPRIETARY</a:t>
              </a:r>
            </a:p>
            <a:p>
              <a:pPr defTabSz="820158" eaLnBrk="0" hangingPunct="0"/>
              <a:r>
                <a:rPr lang="en-US" sz="816" baseline="0" noProof="0" dirty="0">
                  <a:latin typeface="+mn-lt"/>
                </a:rPr>
                <a:t>Any use of this material without specific permission is strictly prohibited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808" y="1777967"/>
            <a:ext cx="5407401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808" y="3615959"/>
            <a:ext cx="5407401" cy="219820"/>
          </a:xfrm>
        </p:spPr>
        <p:txBody>
          <a:bodyPr anchor="ctr">
            <a:spAutoFit/>
          </a:bodyPr>
          <a:lstStyle>
            <a:lvl1pPr>
              <a:defRPr sz="1428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5695416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0633077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4997589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17002317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25715638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6014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0321C262-E058-4E46-8549-DC70F37F84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911669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29798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45878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928060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Group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5" y="1102302"/>
            <a:ext cx="8207375" cy="1473086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72000" rIns="0" bIns="0" numCol="1" anchor="t" anchorCtr="0" compatLnSpc="1">
            <a:prstTxWarp prst="textNoShape">
              <a:avLst/>
            </a:prstTxWarp>
          </a:bodyPr>
          <a:lstStyle>
            <a:lvl1pPr marL="179996" indent="-179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9991" indent="-179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987" indent="-143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3983" indent="-143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7979" indent="-107997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1291482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/>
          </p:nvPr>
        </p:nvSpPr>
        <p:spPr>
          <a:xfrm>
            <a:off x="468315" y="1102304"/>
            <a:ext cx="8207375" cy="562987"/>
          </a:xfrm>
          <a:prstGeom prst="rect">
            <a:avLst/>
          </a:prstGeom>
          <a:noFill/>
        </p:spPr>
        <p:txBody>
          <a:bodyPr wrap="square" lIns="0" tIns="72000" rIns="0" bIns="36000">
            <a:noAutofit/>
          </a:bodyPr>
          <a:lstStyle>
            <a:lvl1pPr marL="0" indent="0">
              <a:buNone/>
              <a:defRPr lang="de-DE" sz="1800" b="1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marL="176209" lvl="0" indent="-176209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/>
              <a:t>Click to edit Master text styles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5" name="Inhaltsplatzhalter 2"/>
          <p:cNvSpPr>
            <a:spLocks noGrp="1"/>
          </p:cNvSpPr>
          <p:nvPr>
            <p:ph idx="1" hasCustomPrompt="1"/>
          </p:nvPr>
        </p:nvSpPr>
        <p:spPr>
          <a:xfrm>
            <a:off x="468315" y="1665292"/>
            <a:ext cx="8207375" cy="143673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marL="179996" indent="-179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9991" indent="-179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737" indent="-143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tabLst/>
              <a:defRPr lang="de-DE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3983" indent="-143996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27979" indent="-107997" algn="l" rtl="0" eaLnBrk="1" fontAlgn="base" hangingPunct="1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itchFamily="34" charset="0"/>
              <a:defRPr lang="de-DE" sz="11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Bullet 1</a:t>
            </a:r>
          </a:p>
          <a:p>
            <a:pPr lvl="1"/>
            <a:r>
              <a:rPr lang="en-US" noProof="0" dirty="0"/>
              <a:t>Bullet 2</a:t>
            </a:r>
          </a:p>
          <a:p>
            <a:pPr lvl="2"/>
            <a:r>
              <a:rPr lang="en-US" noProof="0" dirty="0"/>
              <a:t>Bullet 3</a:t>
            </a:r>
          </a:p>
          <a:p>
            <a:pPr lvl="3"/>
            <a:r>
              <a:rPr lang="en-US" noProof="0" dirty="0"/>
              <a:t>Bullet 4</a:t>
            </a:r>
          </a:p>
          <a:p>
            <a:pPr lvl="4"/>
            <a:r>
              <a:rPr lang="en-US" noProof="0" dirty="0"/>
              <a:t>Bullet 5</a:t>
            </a:r>
          </a:p>
        </p:txBody>
      </p:sp>
    </p:spTree>
    <p:extLst>
      <p:ext uri="{BB962C8B-B14F-4D97-AF65-F5344CB8AC3E}">
        <p14:creationId xmlns:p14="http://schemas.microsoft.com/office/powerpoint/2010/main" val="4084936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ookmark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le 1"/>
          <p:cNvSpPr>
            <a:spLocks noGrp="1"/>
          </p:cNvSpPr>
          <p:nvPr>
            <p:ph type="title"/>
          </p:nvPr>
        </p:nvSpPr>
        <p:spPr>
          <a:xfrm>
            <a:off x="274639" y="282239"/>
            <a:ext cx="8597900" cy="2923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4"/>
          </p:nvPr>
        </p:nvSpPr>
        <p:spPr>
          <a:xfrm>
            <a:off x="436730" y="895351"/>
            <a:ext cx="8311487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Content Placeholder 4"/>
          <p:cNvSpPr>
            <a:spLocks noGrp="1"/>
          </p:cNvSpPr>
          <p:nvPr>
            <p:ph sz="quarter" idx="25"/>
          </p:nvPr>
        </p:nvSpPr>
        <p:spPr>
          <a:xfrm>
            <a:off x="436730" y="1400176"/>
            <a:ext cx="8311487" cy="123110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00597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/>
          <a:srcRect l="1526" t="15500" r="821" b="30948"/>
          <a:stretch/>
        </p:blipFill>
        <p:spPr>
          <a:xfrm>
            <a:off x="-9428" y="6639791"/>
            <a:ext cx="9153427" cy="245749"/>
          </a:xfrm>
          <a:prstGeom prst="rect">
            <a:avLst/>
          </a:prstGeom>
        </p:spPr>
      </p:pic>
      <p:grpSp>
        <p:nvGrpSpPr>
          <p:cNvPr id="7" name="Group 6"/>
          <p:cNvGrpSpPr/>
          <p:nvPr userDrawn="1"/>
        </p:nvGrpSpPr>
        <p:grpSpPr>
          <a:xfrm>
            <a:off x="124691" y="1105942"/>
            <a:ext cx="8209991" cy="3268555"/>
            <a:chOff x="124691" y="1105942"/>
            <a:chExt cx="8209991" cy="3268555"/>
          </a:xfrm>
        </p:grpSpPr>
        <p:sp>
          <p:nvSpPr>
            <p:cNvPr id="8" name="Rounded Rectangle 7"/>
            <p:cNvSpPr/>
            <p:nvPr/>
          </p:nvSpPr>
          <p:spPr bwMode="gray">
            <a:xfrm>
              <a:off x="7052513" y="1105942"/>
              <a:ext cx="1282169" cy="1325664"/>
            </a:xfrm>
            <a:prstGeom prst="roundRect">
              <a:avLst/>
            </a:prstGeom>
            <a:solidFill>
              <a:srgbClr val="FFCD33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9" name="Rounded Rectangle 8"/>
            <p:cNvSpPr/>
            <p:nvPr/>
          </p:nvSpPr>
          <p:spPr bwMode="gray">
            <a:xfrm>
              <a:off x="5549619" y="1777949"/>
              <a:ext cx="1055889" cy="1029725"/>
            </a:xfrm>
            <a:prstGeom prst="roundRect">
              <a:avLst/>
            </a:prstGeom>
            <a:solidFill>
              <a:srgbClr val="4FB94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0" name="Rounded Rectangle 9"/>
            <p:cNvSpPr/>
            <p:nvPr/>
          </p:nvSpPr>
          <p:spPr bwMode="gray">
            <a:xfrm>
              <a:off x="4291747" y="2471661"/>
              <a:ext cx="1051605" cy="983962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1" name="Rounded Rectangle 10"/>
            <p:cNvSpPr/>
            <p:nvPr/>
          </p:nvSpPr>
          <p:spPr bwMode="gray">
            <a:xfrm>
              <a:off x="1533309" y="1355585"/>
              <a:ext cx="1605411" cy="1604710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2" name="Rounded Rectangle 11"/>
            <p:cNvSpPr/>
            <p:nvPr/>
          </p:nvSpPr>
          <p:spPr bwMode="gray">
            <a:xfrm>
              <a:off x="651332" y="3564541"/>
              <a:ext cx="850259" cy="809956"/>
            </a:xfrm>
            <a:prstGeom prst="roundRect">
              <a:avLst/>
            </a:prstGeom>
            <a:solidFill>
              <a:srgbClr val="5E8BF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3" name="Flowchart: Connector 12"/>
            <p:cNvSpPr/>
            <p:nvPr/>
          </p:nvSpPr>
          <p:spPr bwMode="gray">
            <a:xfrm>
              <a:off x="1031094" y="3273868"/>
              <a:ext cx="668883" cy="695651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4" name="Flowchart: Connector 13"/>
            <p:cNvSpPr/>
            <p:nvPr/>
          </p:nvSpPr>
          <p:spPr bwMode="gray">
            <a:xfrm>
              <a:off x="1320586" y="3694278"/>
              <a:ext cx="362326" cy="345325"/>
            </a:xfrm>
            <a:prstGeom prst="flowChartConnector">
              <a:avLst/>
            </a:prstGeom>
            <a:solidFill>
              <a:srgbClr val="5E8BFF">
                <a:alpha val="49020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5" name="Rectangle 53"/>
            <p:cNvSpPr/>
            <p:nvPr/>
          </p:nvSpPr>
          <p:spPr bwMode="ltGray">
            <a:xfrm>
              <a:off x="5149246" y="2557121"/>
              <a:ext cx="259206" cy="269622"/>
            </a:xfrm>
            <a:custGeom>
              <a:avLst/>
              <a:gdLst/>
              <a:ahLst/>
              <a:cxnLst/>
              <a:rect l="l" t="t" r="r" b="b"/>
              <a:pathLst>
                <a:path w="187670" h="195262">
                  <a:moveTo>
                    <a:pt x="0" y="0"/>
                  </a:moveTo>
                  <a:lnTo>
                    <a:pt x="187670" y="0"/>
                  </a:lnTo>
                  <a:lnTo>
                    <a:pt x="187670" y="195262"/>
                  </a:lnTo>
                  <a:lnTo>
                    <a:pt x="0" y="195262"/>
                  </a:lnTo>
                  <a:close/>
                </a:path>
              </a:pathLst>
            </a:custGeom>
            <a:solidFill>
              <a:srgbClr val="D3D4D6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dirty="0">
                <a:solidFill>
                  <a:srgbClr val="FFFFFF"/>
                </a:solidFill>
              </a:endParaRPr>
            </a:p>
          </p:txBody>
        </p:sp>
        <p:sp>
          <p:nvSpPr>
            <p:cNvPr id="16" name="Flowchart: Connector 15"/>
            <p:cNvSpPr/>
            <p:nvPr/>
          </p:nvSpPr>
          <p:spPr bwMode="gray">
            <a:xfrm>
              <a:off x="124691" y="1372359"/>
              <a:ext cx="2287259" cy="2354043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7" name="Flowchart: Connector 16"/>
            <p:cNvSpPr/>
            <p:nvPr/>
          </p:nvSpPr>
          <p:spPr bwMode="gray">
            <a:xfrm>
              <a:off x="536775" y="1391436"/>
              <a:ext cx="1208292" cy="1144854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8" name="Flowchart: Connector 17"/>
            <p:cNvSpPr/>
            <p:nvPr/>
          </p:nvSpPr>
          <p:spPr bwMode="gray">
            <a:xfrm>
              <a:off x="2082161" y="2225119"/>
              <a:ext cx="460945" cy="440743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19" name="Flowchart: Connector 18"/>
            <p:cNvSpPr/>
            <p:nvPr/>
          </p:nvSpPr>
          <p:spPr bwMode="gray">
            <a:xfrm>
              <a:off x="3322371" y="2300135"/>
              <a:ext cx="1117224" cy="1081669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0" name="Flowchart: Connector 19"/>
            <p:cNvSpPr/>
            <p:nvPr/>
          </p:nvSpPr>
          <p:spPr bwMode="gray">
            <a:xfrm>
              <a:off x="4776689" y="2144775"/>
              <a:ext cx="850941" cy="887868"/>
            </a:xfrm>
            <a:prstGeom prst="flowChartConnector">
              <a:avLst/>
            </a:prstGeom>
            <a:solidFill>
              <a:srgbClr val="C7C8CA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1" name="Flowchart: Connector 20"/>
            <p:cNvSpPr/>
            <p:nvPr/>
          </p:nvSpPr>
          <p:spPr bwMode="gray">
            <a:xfrm>
              <a:off x="5144975" y="2681349"/>
              <a:ext cx="460945" cy="440743"/>
            </a:xfrm>
            <a:prstGeom prst="flowChartConnector">
              <a:avLst/>
            </a:prstGeom>
            <a:solidFill>
              <a:srgbClr val="5E8BFF">
                <a:alpha val="49020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2" name="Flowchart: Connector 21"/>
            <p:cNvSpPr/>
            <p:nvPr/>
          </p:nvSpPr>
          <p:spPr bwMode="gray">
            <a:xfrm>
              <a:off x="6383539" y="1619789"/>
              <a:ext cx="1117224" cy="1081669"/>
            </a:xfrm>
            <a:prstGeom prst="flowChartConnector">
              <a:avLst/>
            </a:prstGeom>
            <a:solidFill>
              <a:srgbClr val="E5E5E1">
                <a:alpha val="50196"/>
              </a:srgbClr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3" name="Rounded Rectangle 22"/>
            <p:cNvSpPr/>
            <p:nvPr/>
          </p:nvSpPr>
          <p:spPr bwMode="gray">
            <a:xfrm>
              <a:off x="2206167" y="2729233"/>
              <a:ext cx="1167475" cy="1098675"/>
            </a:xfrm>
            <a:prstGeom prst="roundRect">
              <a:avLst/>
            </a:prstGeom>
            <a:solidFill>
              <a:srgbClr val="E5E5E1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  <p:sp>
          <p:nvSpPr>
            <p:cNvPr id="24" name="Rounded Rectangle 23"/>
            <p:cNvSpPr/>
            <p:nvPr/>
          </p:nvSpPr>
          <p:spPr bwMode="gray">
            <a:xfrm>
              <a:off x="3053233" y="2798183"/>
              <a:ext cx="482606" cy="475685"/>
            </a:xfrm>
            <a:prstGeom prst="roundRect">
              <a:avLst/>
            </a:prstGeom>
            <a:solidFill>
              <a:srgbClr val="4FB94F"/>
            </a:solidFill>
            <a:ln w="190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</a:pPr>
              <a:endParaRPr lang="en-US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1629067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5" Type="http://schemas.openxmlformats.org/officeDocument/2006/relationships/tags" Target="../tags/tag9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oleObject" Target="../embeddings/oleObject3.bin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33.xml"/><Relationship Id="rId7" Type="http://schemas.openxmlformats.org/officeDocument/2006/relationships/theme" Target="../theme/theme2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2" Type="http://schemas.openxmlformats.org/officeDocument/2006/relationships/slideLayout" Target="../slideLayouts/slideLayout16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4" Type="http://schemas.openxmlformats.org/officeDocument/2006/relationships/slideLayout" Target="../slideLayouts/slideLayout18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" name="think-cell Slide" r:id="rId33" imgW="360" imgH="360" progId="">
                  <p:embed/>
                </p:oleObj>
              </mc:Choice>
              <mc:Fallback>
                <p:oleObj name="think-cell Slide" r:id="rId33" imgW="360" imgH="36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8" name="Group 57"/>
          <p:cNvGrpSpPr/>
          <p:nvPr userDrawn="1"/>
        </p:nvGrpSpPr>
        <p:grpSpPr bwMode="ltGray">
          <a:xfrm>
            <a:off x="4" y="6565691"/>
            <a:ext cx="9143999" cy="292313"/>
            <a:chOff x="-476250" y="1078229"/>
            <a:chExt cx="9437688" cy="475297"/>
          </a:xfrm>
        </p:grpSpPr>
        <p:sp>
          <p:nvSpPr>
            <p:cNvPr id="59" name="TitleTopPlaceholder"/>
            <p:cNvSpPr>
              <a:spLocks noChangeArrowheads="1"/>
            </p:cNvSpPr>
            <p:nvPr/>
          </p:nvSpPr>
          <p:spPr bwMode="ltGray">
            <a:xfrm>
              <a:off x="1717675" y="1078230"/>
              <a:ext cx="2193925" cy="474345"/>
            </a:xfrm>
            <a:prstGeom prst="rect">
              <a:avLst/>
            </a:prstGeom>
            <a:solidFill>
              <a:schemeClr val="accent4">
                <a:alpha val="77000"/>
              </a:scheme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0" name="TitleTopPlaceholder"/>
            <p:cNvSpPr>
              <a:spLocks noChangeArrowheads="1"/>
            </p:cNvSpPr>
            <p:nvPr/>
          </p:nvSpPr>
          <p:spPr bwMode="ltGray">
            <a:xfrm>
              <a:off x="-476250" y="1078229"/>
              <a:ext cx="2193925" cy="47434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1" name="TitleTopPlaceholder"/>
            <p:cNvSpPr>
              <a:spLocks noChangeArrowheads="1"/>
            </p:cNvSpPr>
            <p:nvPr/>
          </p:nvSpPr>
          <p:spPr bwMode="ltGray">
            <a:xfrm>
              <a:off x="3534567" y="1079181"/>
              <a:ext cx="5426871" cy="474345"/>
            </a:xfrm>
            <a:prstGeom prst="rect">
              <a:avLst/>
            </a:prstGeom>
            <a:solidFill>
              <a:srgbClr val="009900">
                <a:alpha val="69000"/>
              </a:srgbClr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7" y="234866"/>
            <a:ext cx="805367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5" y="2753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6" y="542619"/>
            <a:ext cx="80536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9639"/>
            <a:ext cx="8799129" cy="409796"/>
            <a:chOff x="75" y="3897"/>
            <a:chExt cx="689" cy="253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6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689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895" indent="-621895" defTabSz="913406" fontAlgn="base">
                <a:spcBef>
                  <a:spcPct val="0"/>
                </a:spcBef>
                <a:spcAft>
                  <a:spcPct val="0"/>
                </a:spcAft>
                <a:tabLst>
                  <a:tab pos="625132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8120"/>
            <a:ext cx="4350892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82" y="275440"/>
            <a:ext cx="769426" cy="1013962"/>
            <a:chOff x="4936" y="176"/>
            <a:chExt cx="475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5" y="275441"/>
            <a:ext cx="1083673" cy="741845"/>
            <a:chOff x="4750" y="176"/>
            <a:chExt cx="669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61731" y="275439"/>
            <a:ext cx="1066895" cy="212366"/>
            <a:chOff x="7695183" y="285750"/>
            <a:chExt cx="1045592" cy="20813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95183" y="285750"/>
              <a:ext cx="1045592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95183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95183" y="493888"/>
              <a:ext cx="10455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67" y="275438"/>
            <a:ext cx="836962" cy="1333054"/>
            <a:chOff x="6655594" y="273840"/>
            <a:chExt cx="820253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99578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04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11965" y="663489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FFFFFF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3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7" y="135845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3742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69" r:id="rId8"/>
    <p:sldLayoutId id="2147483671" r:id="rId9"/>
    <p:sldLayoutId id="2147483672" r:id="rId10"/>
    <p:sldLayoutId id="2147483674" r:id="rId11"/>
    <p:sldLayoutId id="2147483675" r:id="rId12"/>
    <p:sldLayoutId id="2147483676" r:id="rId13"/>
    <p:sldLayoutId id="2147483677" r:id="rId14"/>
  </p:sldLayoutIdLst>
  <p:hf hdr="0" ftr="0" dt="0"/>
  <p:txStyles>
    <p:titleStyle>
      <a:lvl1pPr algn="l" defTabSz="913406" rtl="0" eaLnBrk="1" fontAlgn="base" hangingPunct="1">
        <a:spcBef>
          <a:spcPct val="0"/>
        </a:spcBef>
        <a:spcAft>
          <a:spcPct val="0"/>
        </a:spcAft>
        <a:tabLst>
          <a:tab pos="275317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19"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39"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60"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681" algn="l" defTabSz="91340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2" indent="-195962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19" indent="-267220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52" indent="-158712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28" indent="-132801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28" indent="-132801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28" indent="-132801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28" indent="-132801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28" indent="-132801" algn="l" defTabSz="91340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19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39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60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81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00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21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941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360" algn="l" defTabSz="9328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40672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50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9" y="15390"/>
            <a:ext cx="89470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28" baseline="0" noProof="0" dirty="0">
                <a:solidFill>
                  <a:srgbClr val="808080"/>
                </a:solidFill>
                <a:latin typeface="+mn-lt"/>
                <a:ea typeface="+mj-ea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32898"/>
            <a:ext cx="4726600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32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6" name="McK Slide Elements" hidden="1"/>
          <p:cNvGrpSpPr/>
          <p:nvPr/>
        </p:nvGrpSpPr>
        <p:grpSpPr bwMode="auto">
          <a:xfrm>
            <a:off x="1393427" y="6156413"/>
            <a:ext cx="7522187" cy="532235"/>
            <a:chOff x="1365594" y="6033843"/>
            <a:chExt cx="7372005" cy="52164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1365594" y="6033843"/>
              <a:ext cx="7372005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2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1365594" y="6398517"/>
              <a:ext cx="3935069" cy="1569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478827" indent="-478827" defTabSz="912362">
                <a:tabLst>
                  <a:tab pos="490153" algn="l"/>
                  <a:tab pos="677804" algn="l"/>
                </a:tabLst>
              </a:pPr>
              <a:r>
                <a:rPr lang="en-US" sz="102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781435"/>
            <a:ext cx="4389768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837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sz="1837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8608479" y="6623606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2362"/>
            <a:r>
              <a:rPr lang="en-US" sz="1224" baseline="0" noProof="0" dirty="0">
                <a:latin typeface="+mn-lt"/>
                <a:ea typeface="+mn-ea"/>
              </a:rPr>
              <a:t>|</a:t>
            </a:r>
          </a:p>
        </p:txBody>
      </p:sp>
      <p:grpSp>
        <p:nvGrpSpPr>
          <p:cNvPr id="25" name="LegendBoxes" hidden="1"/>
          <p:cNvGrpSpPr>
            <a:grpSpLocks/>
          </p:cNvGrpSpPr>
          <p:nvPr/>
        </p:nvGrpSpPr>
        <p:grpSpPr bwMode="auto">
          <a:xfrm>
            <a:off x="8136459" y="296420"/>
            <a:ext cx="788863" cy="1022061"/>
            <a:chOff x="4936" y="176"/>
            <a:chExt cx="487" cy="631"/>
          </a:xfrm>
        </p:grpSpPr>
        <p:sp>
          <p:nvSpPr>
            <p:cNvPr id="26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27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28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29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0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1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2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3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24">
                <a:latin typeface="+mn-lt"/>
              </a:endParaRPr>
            </a:p>
          </p:txBody>
        </p:sp>
      </p:grpSp>
      <p:grpSp>
        <p:nvGrpSpPr>
          <p:cNvPr id="34" name="LegendLines" hidden="1"/>
          <p:cNvGrpSpPr>
            <a:grpSpLocks/>
          </p:cNvGrpSpPr>
          <p:nvPr/>
        </p:nvGrpSpPr>
        <p:grpSpPr bwMode="auto">
          <a:xfrm>
            <a:off x="7822221" y="296408"/>
            <a:ext cx="1103112" cy="749943"/>
            <a:chOff x="4750" y="176"/>
            <a:chExt cx="681" cy="463"/>
          </a:xfrm>
        </p:grpSpPr>
        <p:sp>
          <p:nvSpPr>
            <p:cNvPr id="35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6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7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24">
                <a:latin typeface="+mn-lt"/>
              </a:endParaRPr>
            </a:p>
          </p:txBody>
        </p:sp>
        <p:sp>
          <p:nvSpPr>
            <p:cNvPr id="38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39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40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7" cy="1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</p:grpSp>
      <p:grpSp>
        <p:nvGrpSpPr>
          <p:cNvPr id="41" name="McKSticker" hidden="1"/>
          <p:cNvGrpSpPr/>
          <p:nvPr/>
        </p:nvGrpSpPr>
        <p:grpSpPr bwMode="auto">
          <a:xfrm>
            <a:off x="7805786" y="296408"/>
            <a:ext cx="1109828" cy="220474"/>
            <a:chOff x="7653105" y="285750"/>
            <a:chExt cx="1087670" cy="216085"/>
          </a:xfrm>
        </p:grpSpPr>
        <p:sp>
          <p:nvSpPr>
            <p:cNvPr id="42" name="StickerRectangle"/>
            <p:cNvSpPr>
              <a:spLocks noChangeArrowheads="1"/>
            </p:cNvSpPr>
            <p:nvPr/>
          </p:nvSpPr>
          <p:spPr bwMode="auto">
            <a:xfrm>
              <a:off x="7653105" y="285750"/>
              <a:ext cx="1087670" cy="2160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2362">
                <a:buClr>
                  <a:schemeClr val="tx2"/>
                </a:buClr>
              </a:pPr>
              <a:r>
                <a:rPr lang="en-US" sz="1224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3" name="AutoShape 31"/>
            <p:cNvCxnSpPr>
              <a:cxnSpLocks noChangeShapeType="1"/>
              <a:stCxn id="42" idx="2"/>
              <a:endCxn id="42" idx="4"/>
            </p:cNvCxnSpPr>
            <p:nvPr/>
          </p:nvCxnSpPr>
          <p:spPr bwMode="auto">
            <a:xfrm>
              <a:off x="7653105" y="285750"/>
              <a:ext cx="0" cy="2160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32"/>
            <p:cNvCxnSpPr>
              <a:cxnSpLocks noChangeShapeType="1"/>
              <a:stCxn id="42" idx="4"/>
              <a:endCxn id="42" idx="6"/>
            </p:cNvCxnSpPr>
            <p:nvPr/>
          </p:nvCxnSpPr>
          <p:spPr bwMode="auto">
            <a:xfrm>
              <a:off x="7653105" y="501835"/>
              <a:ext cx="10876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LegendMoons" hidden="1"/>
          <p:cNvGrpSpPr/>
          <p:nvPr/>
        </p:nvGrpSpPr>
        <p:grpSpPr bwMode="auto">
          <a:xfrm>
            <a:off x="8068267" y="296408"/>
            <a:ext cx="857161" cy="1333054"/>
            <a:chOff x="6655594" y="273840"/>
            <a:chExt cx="840048" cy="1306516"/>
          </a:xfrm>
        </p:grpSpPr>
        <p:grpSp>
          <p:nvGrpSpPr>
            <p:cNvPr id="46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4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5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7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8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grpSp>
          <p:nvGrpSpPr>
            <p:cNvPr id="49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  <p:sp>
          <p:nvSpPr>
            <p:cNvPr id="50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1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2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sp>
          <p:nvSpPr>
            <p:cNvPr id="53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>
                  <a:latin typeface="+mn-lt"/>
                </a:rPr>
                <a:t>Legend</a:t>
              </a:r>
            </a:p>
          </p:txBody>
        </p:sp>
        <p:sp>
          <p:nvSpPr>
            <p:cNvPr id="54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19373" cy="1883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2362">
                <a:buClr>
                  <a:schemeClr val="tx2"/>
                </a:buClr>
              </a:pPr>
              <a:r>
                <a:rPr lang="en-US" sz="1224" dirty="0">
                  <a:latin typeface="+mn-lt"/>
                </a:rPr>
                <a:t>Legend</a:t>
              </a:r>
            </a:p>
          </p:txBody>
        </p:sp>
        <p:grpSp>
          <p:nvGrpSpPr>
            <p:cNvPr id="55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24">
                  <a:latin typeface="+mn-lt"/>
                </a:endParaRPr>
              </a:p>
            </p:txBody>
          </p:sp>
        </p:grpSp>
      </p:grpSp>
      <p:sp>
        <p:nvSpPr>
          <p:cNvPr id="66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595968" y="6593207"/>
            <a:ext cx="548033" cy="259998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fld id="{1B845CE2-52C6-D640-906F-6FEE9CFEE2EC}" type="slidenum">
              <a:rPr lang="en-US" sz="1020" smtClean="0"/>
              <a:pPr/>
              <a:t>‹#›</a:t>
            </a:fld>
            <a:endParaRPr lang="en-US" sz="1020" dirty="0"/>
          </a:p>
        </p:txBody>
      </p:sp>
    </p:spTree>
    <p:extLst>
      <p:ext uri="{BB962C8B-B14F-4D97-AF65-F5344CB8AC3E}">
        <p14:creationId xmlns:p14="http://schemas.microsoft.com/office/powerpoint/2010/main" val="30699430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hdr="0" ftr="0" dt="0"/>
  <p:txStyles>
    <p:titleStyle>
      <a:lvl1pPr algn="l" defTabSz="912362" rtl="0" eaLnBrk="1" fontAlgn="base" hangingPunct="1">
        <a:spcBef>
          <a:spcPct val="0"/>
        </a:spcBef>
        <a:spcAft>
          <a:spcPct val="0"/>
        </a:spcAft>
        <a:tabLst>
          <a:tab pos="275003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5881"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1779"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7667"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3550" algn="l" defTabSz="9123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356" indent="-195739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5881" indent="-266916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039" indent="-158533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4056" indent="-132648" algn="l" defTabSz="9123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5881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1779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7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0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1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5329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5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5" algn="l" defTabSz="931779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3.png"/><Relationship Id="rId2" Type="http://schemas.openxmlformats.org/officeDocument/2006/relationships/tags" Target="../tags/tag4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4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2.doc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5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3" Type="http://schemas.openxmlformats.org/officeDocument/2006/relationships/tags" Target="../tags/tag4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768" y="176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68" y="176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TopPlaceholder"/>
          <p:cNvSpPr>
            <a:spLocks noChangeArrowheads="1"/>
          </p:cNvSpPr>
          <p:nvPr/>
        </p:nvSpPr>
        <p:spPr bwMode="auto">
          <a:xfrm>
            <a:off x="1" y="3245986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876" tIns="45945" rIns="91876" bIns="45945" anchor="ctr"/>
          <a:lstStyle/>
          <a:p>
            <a:pPr defTabSz="93019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9" name="TitleTopPlaceholder"/>
          <p:cNvSpPr>
            <a:spLocks noChangeArrowheads="1"/>
          </p:cNvSpPr>
          <p:nvPr/>
        </p:nvSpPr>
        <p:spPr bwMode="auto">
          <a:xfrm>
            <a:off x="3886006" y="3246845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876" tIns="45945" rIns="91876" bIns="45945" anchor="ctr"/>
          <a:lstStyle/>
          <a:p>
            <a:pPr defTabSz="93019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2060"/>
              </a:solidFill>
            </a:endParaRPr>
          </a:p>
        </p:txBody>
      </p:sp>
      <p:sp>
        <p:nvSpPr>
          <p:cNvPr id="15" name="TitleTopPlaceholder"/>
          <p:cNvSpPr>
            <a:spLocks noChangeArrowheads="1"/>
          </p:cNvSpPr>
          <p:nvPr/>
        </p:nvSpPr>
        <p:spPr bwMode="auto">
          <a:xfrm>
            <a:off x="2125654" y="3245986"/>
            <a:ext cx="2125653" cy="436455"/>
          </a:xfrm>
          <a:prstGeom prst="rect">
            <a:avLst/>
          </a:prstGeom>
          <a:solidFill>
            <a:schemeClr val="accent4">
              <a:lumMod val="60000"/>
              <a:lumOff val="40000"/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1876" tIns="45945" rIns="91876" bIns="45945" anchor="ctr"/>
          <a:lstStyle/>
          <a:p>
            <a:pPr defTabSz="930195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2060"/>
              </a:solidFill>
            </a:endParaRPr>
          </a:p>
        </p:txBody>
      </p:sp>
      <p:pic>
        <p:nvPicPr>
          <p:cNvPr id="16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892" y="2029751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54"/>
          <p:cNvSpPr txBox="1">
            <a:spLocks noChangeArrowheads="1"/>
          </p:cNvSpPr>
          <p:nvPr/>
        </p:nvSpPr>
        <p:spPr bwMode="auto">
          <a:xfrm>
            <a:off x="2693794" y="3324892"/>
            <a:ext cx="622160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en-US" sz="2400" kern="0" dirty="0">
              <a:solidFill>
                <a:srgbClr val="002060"/>
              </a:solidFill>
            </a:endParaRPr>
          </a:p>
          <a:p>
            <a:r>
              <a:rPr lang="en-US" sz="2400" kern="0" dirty="0">
                <a:solidFill>
                  <a:srgbClr val="002060"/>
                </a:solidFill>
              </a:rPr>
              <a:t>Executive Office of Health &amp; Human Services</a:t>
            </a:r>
          </a:p>
          <a:p>
            <a:r>
              <a:rPr lang="en-US" sz="2400" kern="0" dirty="0">
                <a:solidFill>
                  <a:srgbClr val="002060"/>
                </a:solidFill>
              </a:rPr>
              <a:t>January 23,2018</a:t>
            </a:r>
          </a:p>
          <a:p>
            <a:endParaRPr lang="en-US" sz="2400" kern="0" dirty="0">
              <a:solidFill>
                <a:srgbClr val="00206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43000" y="1150203"/>
            <a:ext cx="67817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5350" fontAlgn="base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</a:pPr>
            <a:r>
              <a:rPr lang="en-US" sz="2400" b="1" dirty="0"/>
              <a:t>MassHealth Presentation for </a:t>
            </a:r>
            <a:r>
              <a:rPr lang="en-US" sz="2400" b="1" dirty="0" err="1"/>
              <a:t>PromotePrevent</a:t>
            </a:r>
            <a:r>
              <a:rPr lang="en-US" sz="2400" b="1" dirty="0"/>
              <a:t> </a:t>
            </a:r>
            <a:r>
              <a:rPr lang="en-US" sz="2400" b="1" dirty="0" smtClean="0"/>
              <a:t>Commission</a:t>
            </a:r>
            <a:endParaRPr lang="en-US" sz="2400" b="1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23657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8053675" cy="307777"/>
          </a:xfrm>
        </p:spPr>
        <p:txBody>
          <a:bodyPr/>
          <a:lstStyle/>
          <a:p>
            <a:r>
              <a:rPr lang="en-US" sz="2000" kern="1200" dirty="0">
                <a:solidFill>
                  <a:srgbClr val="004080"/>
                </a:solidFill>
              </a:rPr>
              <a:t>Overview: Community Partners Program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06319" y="867621"/>
            <a:ext cx="8276861" cy="1885467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marL="650903" lvl="2" indent="-184236" fontAlgn="base">
              <a:spcBef>
                <a:spcPct val="0"/>
              </a:spcBef>
              <a:spcAft>
                <a:spcPts val="1176"/>
              </a:spcAft>
              <a:buClr>
                <a:srgbClr val="00295F"/>
              </a:buClr>
              <a:buSzPct val="125000"/>
              <a:buFont typeface="Arial"/>
              <a:buChar char="▪"/>
              <a:tabLst>
                <a:tab pos="195782" algn="l"/>
              </a:tabLst>
            </a:pPr>
            <a:r>
              <a:rPr lang="en-US" dirty="0">
                <a:solidFill>
                  <a:srgbClr val="5E8BFF">
                    <a:lumMod val="50000"/>
                  </a:srgbClr>
                </a:solidFill>
                <a:latin typeface="Arial"/>
                <a:cs typeface="Arial"/>
              </a:rPr>
              <a:t>Community Partners (CPs) are procured, contracted, and managed by MassHealth.</a:t>
            </a:r>
          </a:p>
          <a:p>
            <a:pPr marL="650903" lvl="2" indent="-184236" fontAlgn="base">
              <a:spcBef>
                <a:spcPct val="0"/>
              </a:spcBef>
              <a:spcAft>
                <a:spcPts val="1176"/>
              </a:spcAft>
              <a:buClr>
                <a:srgbClr val="00295F"/>
              </a:buClr>
              <a:buSzPct val="125000"/>
              <a:buFont typeface="Arial"/>
              <a:buChar char="▪"/>
              <a:tabLst>
                <a:tab pos="195782" algn="l"/>
              </a:tabLst>
            </a:pPr>
            <a:endParaRPr lang="en-US" dirty="0">
              <a:solidFill>
                <a:srgbClr val="5E8BFF">
                  <a:lumMod val="50000"/>
                </a:srgbClr>
              </a:solidFill>
              <a:latin typeface="Arial"/>
              <a:cs typeface="Arial"/>
            </a:endParaRPr>
          </a:p>
          <a:p>
            <a:pPr marL="650903" lvl="2" indent="-184236" fontAlgn="base">
              <a:spcBef>
                <a:spcPct val="0"/>
              </a:spcBef>
              <a:spcAft>
                <a:spcPts val="1176"/>
              </a:spcAft>
              <a:buClr>
                <a:srgbClr val="00295F"/>
              </a:buClr>
              <a:buSzPct val="125000"/>
              <a:buFont typeface="Arial"/>
              <a:buChar char="▪"/>
              <a:tabLst>
                <a:tab pos="195782" algn="l"/>
              </a:tabLst>
            </a:pPr>
            <a:r>
              <a:rPr lang="en-US" dirty="0">
                <a:solidFill>
                  <a:srgbClr val="5E8BFF">
                    <a:lumMod val="50000"/>
                  </a:srgbClr>
                </a:solidFill>
                <a:latin typeface="Arial"/>
                <a:cs typeface="Arial"/>
              </a:rPr>
              <a:t>There are two types of Community Partners:</a:t>
            </a:r>
          </a:p>
          <a:p>
            <a:pPr marL="912994" lvl="2"/>
            <a:endParaRPr lang="en-US" sz="15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4216581"/>
              </p:ext>
            </p:extLst>
          </p:nvPr>
        </p:nvGraphicFramePr>
        <p:xfrm>
          <a:off x="1066800" y="2819400"/>
          <a:ext cx="7239000" cy="262724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6195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6195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99060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Behavioral</a:t>
                      </a:r>
                      <a:r>
                        <a:rPr lang="en-US" baseline="0" dirty="0"/>
                        <a:t> Health Community Partner (BH CP)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Long-Term Services and Supports Community</a:t>
                      </a:r>
                      <a:r>
                        <a:rPr lang="en-US" baseline="0" dirty="0"/>
                        <a:t> Partner (LTSS CP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36644">
                <a:tc>
                  <a:txBody>
                    <a:bodyPr/>
                    <a:lstStyle/>
                    <a:p>
                      <a:r>
                        <a:rPr lang="en-US" dirty="0"/>
                        <a:t>Responsible for care management</a:t>
                      </a:r>
                      <a:r>
                        <a:rPr lang="en-US" baseline="0" dirty="0"/>
                        <a:t> and coordination for populations with significant BH need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Provide LTSS care coordination and navigation to populations with complex LTSS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28074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/>
          <p:cNvSpPr/>
          <p:nvPr/>
        </p:nvSpPr>
        <p:spPr>
          <a:xfrm>
            <a:off x="3382682" y="918316"/>
            <a:ext cx="1916067" cy="1913874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endParaRPr lang="en-US" sz="1000" b="1" dirty="0">
              <a:solidFill>
                <a:schemeClr val="tx1"/>
              </a:solidFill>
            </a:endParaRP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Behavioral Health Community Partner (BH CP)</a:t>
            </a:r>
          </a:p>
        </p:txBody>
      </p:sp>
      <p:sp>
        <p:nvSpPr>
          <p:cNvPr id="64" name="Rounded Rectangle 63"/>
          <p:cNvSpPr/>
          <p:nvPr/>
        </p:nvSpPr>
        <p:spPr>
          <a:xfrm>
            <a:off x="6505871" y="4352671"/>
            <a:ext cx="1619790" cy="713883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sp>
        <p:nvSpPr>
          <p:cNvPr id="63" name="Rounded Rectangle 62"/>
          <p:cNvSpPr/>
          <p:nvPr/>
        </p:nvSpPr>
        <p:spPr>
          <a:xfrm>
            <a:off x="6440740" y="4256360"/>
            <a:ext cx="1619790" cy="713883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000" dirty="0">
              <a:solidFill>
                <a:schemeClr val="tx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1688480"/>
              </p:ext>
            </p:extLst>
          </p:nvPr>
        </p:nvGraphicFramePr>
        <p:xfrm>
          <a:off x="162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3" y="16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1502" y="234864"/>
            <a:ext cx="8794113" cy="553998"/>
          </a:xfrm>
        </p:spPr>
        <p:txBody>
          <a:bodyPr/>
          <a:lstStyle/>
          <a:p>
            <a:r>
              <a:rPr lang="en-US" sz="1800" u="sng" kern="1200" dirty="0">
                <a:solidFill>
                  <a:srgbClr val="004080"/>
                </a:solidFill>
              </a:rPr>
              <a:t>Behavioral</a:t>
            </a:r>
            <a:r>
              <a:rPr lang="en-US" sz="1800" u="sng" dirty="0">
                <a:solidFill>
                  <a:srgbClr val="0031AE"/>
                </a:solidFill>
              </a:rPr>
              <a:t> </a:t>
            </a:r>
            <a:r>
              <a:rPr lang="en-US" sz="1800" u="sng" kern="1200" dirty="0">
                <a:solidFill>
                  <a:srgbClr val="004080"/>
                </a:solidFill>
              </a:rPr>
              <a:t>Health Community Partners (BH CP): </a:t>
            </a:r>
            <a:r>
              <a:rPr lang="en-US" sz="1800" kern="1200" dirty="0">
                <a:solidFill>
                  <a:srgbClr val="004080"/>
                </a:solidFill>
              </a:rPr>
              <a:t>how it helps </a:t>
            </a:r>
            <a:r>
              <a:rPr lang="en-US" sz="1800" kern="1200" dirty="0" err="1">
                <a:solidFill>
                  <a:srgbClr val="004080"/>
                </a:solidFill>
              </a:rPr>
              <a:t>MassHealth</a:t>
            </a:r>
            <a:r>
              <a:rPr lang="en-US" sz="1800" kern="1200" dirty="0">
                <a:solidFill>
                  <a:srgbClr val="004080"/>
                </a:solidFill>
              </a:rPr>
              <a:t> adult members and family members navigate and coordinate care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453421" y="3945820"/>
            <a:ext cx="796850" cy="449598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CP</a:t>
            </a:r>
          </a:p>
        </p:txBody>
      </p:sp>
      <p:sp>
        <p:nvSpPr>
          <p:cNvPr id="10" name="Rounded Rectangle 9"/>
          <p:cNvSpPr/>
          <p:nvPr/>
        </p:nvSpPr>
        <p:spPr>
          <a:xfrm>
            <a:off x="1392468" y="3926505"/>
            <a:ext cx="1017957" cy="449598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dical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pecialists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366171" y="4536458"/>
            <a:ext cx="1413093" cy="575818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Behavioral  health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clinicians</a:t>
            </a:r>
          </a:p>
        </p:txBody>
      </p:sp>
      <p:sp>
        <p:nvSpPr>
          <p:cNvPr id="13" name="Rectangle 8"/>
          <p:cNvSpPr txBox="1"/>
          <p:nvPr/>
        </p:nvSpPr>
        <p:spPr>
          <a:xfrm>
            <a:off x="366172" y="3501318"/>
            <a:ext cx="3265376" cy="37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 err="1"/>
              <a:t>MassHealth</a:t>
            </a:r>
            <a:r>
              <a:rPr lang="en-US" sz="1200" b="1" dirty="0"/>
              <a:t> plan </a:t>
            </a:r>
            <a:r>
              <a:rPr lang="en-US" sz="1200" dirty="0"/>
              <a:t>(Accountable Care Organization or Managed Care Organization)</a:t>
            </a:r>
          </a:p>
        </p:txBody>
      </p:sp>
      <p:sp>
        <p:nvSpPr>
          <p:cNvPr id="4" name="Rectangle 3"/>
          <p:cNvSpPr/>
          <p:nvPr/>
        </p:nvSpPr>
        <p:spPr>
          <a:xfrm>
            <a:off x="239602" y="3387007"/>
            <a:ext cx="3596046" cy="2575394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5" name="Rectangle 8"/>
          <p:cNvSpPr txBox="1"/>
          <p:nvPr/>
        </p:nvSpPr>
        <p:spPr>
          <a:xfrm>
            <a:off x="4127441" y="3501318"/>
            <a:ext cx="1768643" cy="565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/>
              <a:t>DMH services or other state agencies  </a:t>
            </a:r>
            <a:r>
              <a:rPr lang="en-US" sz="1200" dirty="0"/>
              <a:t>(as applicable)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000871" y="3387007"/>
            <a:ext cx="2002123" cy="2575394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365443" y="4885386"/>
            <a:ext cx="1238910" cy="435565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DS services</a:t>
            </a:r>
          </a:p>
        </p:txBody>
      </p:sp>
      <p:sp>
        <p:nvSpPr>
          <p:cNvPr id="31" name="Rectangle 8"/>
          <p:cNvSpPr txBox="1"/>
          <p:nvPr/>
        </p:nvSpPr>
        <p:spPr>
          <a:xfrm>
            <a:off x="6333664" y="3501318"/>
            <a:ext cx="1768643" cy="37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/>
              <a:t>Social services/ other supports </a:t>
            </a:r>
            <a:r>
              <a:rPr lang="en-US" sz="1200" dirty="0"/>
              <a:t>(as applicable)</a:t>
            </a:r>
          </a:p>
        </p:txBody>
      </p:sp>
      <p:sp>
        <p:nvSpPr>
          <p:cNvPr id="32" name="Rectangle 31"/>
          <p:cNvSpPr/>
          <p:nvPr/>
        </p:nvSpPr>
        <p:spPr>
          <a:xfrm>
            <a:off x="6207094" y="3387007"/>
            <a:ext cx="2002123" cy="2575394"/>
          </a:xfrm>
          <a:prstGeom prst="rect">
            <a:avLst/>
          </a:prstGeom>
          <a:noFill/>
          <a:ln w="19050">
            <a:solidFill>
              <a:schemeClr val="accent6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1840131" name="Picture 3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292" t="6499" r="32239" b="5938"/>
          <a:stretch/>
        </p:blipFill>
        <p:spPr bwMode="auto">
          <a:xfrm>
            <a:off x="4149401" y="1131804"/>
            <a:ext cx="382629" cy="878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Rounded Rectangle 34"/>
          <p:cNvSpPr/>
          <p:nvPr/>
        </p:nvSpPr>
        <p:spPr>
          <a:xfrm>
            <a:off x="388155" y="5289700"/>
            <a:ext cx="1166174" cy="501649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Long term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ervices/ supports</a:t>
            </a:r>
          </a:p>
        </p:txBody>
      </p:sp>
      <p:cxnSp>
        <p:nvCxnSpPr>
          <p:cNvPr id="38" name="Straight Arrow Connector 37"/>
          <p:cNvCxnSpPr>
            <a:endCxn id="4" idx="0"/>
          </p:cNvCxnSpPr>
          <p:nvPr/>
        </p:nvCxnSpPr>
        <p:spPr>
          <a:xfrm flipH="1">
            <a:off x="2037625" y="2868545"/>
            <a:ext cx="2303091" cy="518462"/>
          </a:xfrm>
          <a:prstGeom prst="straightConnector1">
            <a:avLst/>
          </a:prstGeom>
          <a:ln w="19050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endCxn id="26" idx="0"/>
          </p:cNvCxnSpPr>
          <p:nvPr/>
        </p:nvCxnSpPr>
        <p:spPr>
          <a:xfrm>
            <a:off x="4340716" y="2868545"/>
            <a:ext cx="661217" cy="518462"/>
          </a:xfrm>
          <a:prstGeom prst="straightConnector1">
            <a:avLst/>
          </a:prstGeom>
          <a:ln w="19050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/>
          <p:cNvCxnSpPr>
            <a:endCxn id="32" idx="0"/>
          </p:cNvCxnSpPr>
          <p:nvPr/>
        </p:nvCxnSpPr>
        <p:spPr>
          <a:xfrm>
            <a:off x="4340716" y="2868545"/>
            <a:ext cx="2867440" cy="518462"/>
          </a:xfrm>
          <a:prstGeom prst="straightConnector1">
            <a:avLst/>
          </a:prstGeom>
          <a:ln w="19050">
            <a:solidFill>
              <a:schemeClr val="tx2"/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"/>
          <p:cNvSpPr txBox="1"/>
          <p:nvPr/>
        </p:nvSpPr>
        <p:spPr>
          <a:xfrm>
            <a:off x="1054625" y="6146880"/>
            <a:ext cx="6871253" cy="3768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i="1" dirty="0"/>
              <a:t>MassHealth contracts with Accountable Care Organizations (ACOs) and Managed Care Organizations (MCOs) to help manage care. ACOs and MCOs are required to work with BH CPs</a:t>
            </a:r>
          </a:p>
        </p:txBody>
      </p:sp>
      <p:sp>
        <p:nvSpPr>
          <p:cNvPr id="86" name="Rectangle 8"/>
          <p:cNvSpPr txBox="1"/>
          <p:nvPr/>
        </p:nvSpPr>
        <p:spPr>
          <a:xfrm>
            <a:off x="5422128" y="1387068"/>
            <a:ext cx="3636924" cy="1318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200" dirty="0"/>
              <a:t>Actively outreach and engage individual/ families</a:t>
            </a:r>
          </a:p>
          <a:p>
            <a:pPr lvl="1"/>
            <a:r>
              <a:rPr lang="en-US" sz="1200" dirty="0"/>
              <a:t>Assess needs, provide options and refer to services</a:t>
            </a:r>
          </a:p>
          <a:p>
            <a:pPr lvl="1"/>
            <a:r>
              <a:rPr lang="en-US" sz="1200" dirty="0"/>
              <a:t>Coordinate with individual and providers to develop and maintain a care plan</a:t>
            </a:r>
          </a:p>
          <a:p>
            <a:pPr lvl="1"/>
            <a:r>
              <a:rPr lang="en-US" sz="1200" dirty="0"/>
              <a:t>Help navigate medical, behavioral health, disability, social services</a:t>
            </a:r>
          </a:p>
        </p:txBody>
      </p:sp>
      <p:sp>
        <p:nvSpPr>
          <p:cNvPr id="87" name="Rectangle 8"/>
          <p:cNvSpPr txBox="1"/>
          <p:nvPr/>
        </p:nvSpPr>
        <p:spPr>
          <a:xfrm>
            <a:off x="5404796" y="1124607"/>
            <a:ext cx="3529244" cy="1884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200" b="1" dirty="0"/>
              <a:t>What the BH CP is doing:</a:t>
            </a:r>
          </a:p>
        </p:txBody>
      </p:sp>
      <p:sp>
        <p:nvSpPr>
          <p:cNvPr id="39" name="Rounded Rectangle 38"/>
          <p:cNvSpPr/>
          <p:nvPr/>
        </p:nvSpPr>
        <p:spPr>
          <a:xfrm>
            <a:off x="2567535" y="3933716"/>
            <a:ext cx="1064013" cy="439592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rescriptions</a:t>
            </a:r>
          </a:p>
        </p:txBody>
      </p:sp>
      <p:sp>
        <p:nvSpPr>
          <p:cNvPr id="2" name="Rounded Rectangle 1"/>
          <p:cNvSpPr/>
          <p:nvPr/>
        </p:nvSpPr>
        <p:spPr>
          <a:xfrm>
            <a:off x="2825090" y="5276878"/>
            <a:ext cx="874714" cy="521031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Other providers</a:t>
            </a:r>
          </a:p>
        </p:txBody>
      </p:sp>
      <p:sp>
        <p:nvSpPr>
          <p:cNvPr id="5" name="Rounded Rectangle 4"/>
          <p:cNvSpPr/>
          <p:nvPr/>
        </p:nvSpPr>
        <p:spPr>
          <a:xfrm>
            <a:off x="2037625" y="4536458"/>
            <a:ext cx="1535882" cy="575818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ddiction treatment providers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1673269" y="5276877"/>
            <a:ext cx="986596" cy="514472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Other specialist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4279239" y="4164047"/>
            <a:ext cx="1411640" cy="608134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DMH Programs (e.g. ACCS, Clubhouses, Case Management)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6371109" y="4153610"/>
            <a:ext cx="1619790" cy="713883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ocial service agencies </a:t>
            </a:r>
            <a:r>
              <a:rPr lang="en-US" sz="1000" dirty="0">
                <a:solidFill>
                  <a:schemeClr val="tx1"/>
                </a:solidFill>
              </a:rPr>
              <a:t>(food/ housing subsidies, social supports)</a:t>
            </a:r>
          </a:p>
        </p:txBody>
      </p:sp>
      <p:sp>
        <p:nvSpPr>
          <p:cNvPr id="45" name="Rounded Rectangle 44"/>
          <p:cNvSpPr/>
          <p:nvPr/>
        </p:nvSpPr>
        <p:spPr>
          <a:xfrm>
            <a:off x="4389661" y="5392383"/>
            <a:ext cx="1190472" cy="435565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RC services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262449" y="1395832"/>
            <a:ext cx="917761" cy="406353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226776"/>
            <a:r>
              <a:rPr lang="en-US" sz="1000" b="1" dirty="0"/>
              <a:t>Eligible member</a:t>
            </a:r>
          </a:p>
        </p:txBody>
      </p:sp>
    </p:spTree>
    <p:extLst>
      <p:ext uri="{BB962C8B-B14F-4D97-AF65-F5344CB8AC3E}">
        <p14:creationId xmlns:p14="http://schemas.microsoft.com/office/powerpoint/2010/main" val="394003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117" y="2440671"/>
            <a:ext cx="4389768" cy="430887"/>
          </a:xfrm>
        </p:spPr>
        <p:txBody>
          <a:bodyPr/>
          <a:lstStyle/>
          <a:p>
            <a:pPr algn="ctr"/>
            <a:r>
              <a:rPr lang="en-US" sz="2800" dirty="0"/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15472148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945" y="234863"/>
            <a:ext cx="7976093" cy="615553"/>
          </a:xfrm>
        </p:spPr>
        <p:txBody>
          <a:bodyPr vert="horz" wrap="square" lIns="0" tIns="0" rIns="0" bIns="0" rtlCol="0">
            <a:noAutofit/>
          </a:bodyPr>
          <a:lstStyle/>
          <a:p>
            <a:pPr marL="12435" defTabSz="910241"/>
            <a:r>
              <a:rPr lang="en-US" sz="1800" kern="1200" dirty="0">
                <a:solidFill>
                  <a:srgbClr val="004080"/>
                </a:solidFill>
              </a:rPr>
              <a:t>The following is a list of the entities that have been contracted as </a:t>
            </a:r>
            <a:r>
              <a:rPr lang="en-US" sz="1800" kern="1200" dirty="0" err="1">
                <a:solidFill>
                  <a:srgbClr val="004080"/>
                </a:solidFill>
              </a:rPr>
              <a:t>MassHealth</a:t>
            </a:r>
            <a:r>
              <a:rPr lang="en-US" sz="1800" kern="1200" dirty="0">
                <a:solidFill>
                  <a:srgbClr val="004080"/>
                </a:solidFill>
              </a:rPr>
              <a:t> Behavioral Health Community Partners  (1/2)</a:t>
            </a:r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72790468"/>
              </p:ext>
            </p:extLst>
          </p:nvPr>
        </p:nvGraphicFramePr>
        <p:xfrm>
          <a:off x="174943" y="812018"/>
          <a:ext cx="8838863" cy="51977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8" name="Document" r:id="rId3" imgW="9283700" imgH="5448300" progId="Word.Document.12">
                  <p:embed/>
                </p:oleObj>
              </mc:Choice>
              <mc:Fallback>
                <p:oleObj name="Document" r:id="rId3" imgW="9283700" imgH="5448300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943" y="812018"/>
                        <a:ext cx="8838863" cy="519778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1887213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2527487"/>
              </p:ext>
            </p:extLst>
          </p:nvPr>
        </p:nvGraphicFramePr>
        <p:xfrm>
          <a:off x="174944" y="779897"/>
          <a:ext cx="8659791" cy="59811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2" name="Document" r:id="rId3" imgW="9283700" imgH="6400800" progId="Word.Document.12">
                  <p:embed/>
                </p:oleObj>
              </mc:Choice>
              <mc:Fallback>
                <p:oleObj name="Document" r:id="rId3" imgW="9283700" imgH="6400800" progId="Word.Document.12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944" y="779897"/>
                        <a:ext cx="8659791" cy="59811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52400" y="152400"/>
            <a:ext cx="8048724" cy="553998"/>
          </a:xfrm>
        </p:spPr>
        <p:txBody>
          <a:bodyPr/>
          <a:lstStyle/>
          <a:p>
            <a:pPr marL="12435" defTabSz="910241"/>
            <a:r>
              <a:rPr lang="en-US" sz="1800" kern="1200" dirty="0">
                <a:solidFill>
                  <a:srgbClr val="004080"/>
                </a:solidFill>
              </a:rPr>
              <a:t>The following is a list of the entities that have been contracted  as  </a:t>
            </a:r>
            <a:r>
              <a:rPr lang="en-US" sz="1800" kern="1200" dirty="0" err="1">
                <a:solidFill>
                  <a:srgbClr val="004080"/>
                </a:solidFill>
              </a:rPr>
              <a:t>MassHealth</a:t>
            </a:r>
            <a:r>
              <a:rPr lang="en-US" sz="1800" kern="1200" dirty="0">
                <a:solidFill>
                  <a:srgbClr val="004080"/>
                </a:solidFill>
              </a:rPr>
              <a:t> Behavioral Health Community Partners  (2/2)</a:t>
            </a:r>
          </a:p>
        </p:txBody>
      </p:sp>
    </p:spTree>
    <p:extLst>
      <p:ext uri="{BB962C8B-B14F-4D97-AF65-F5344CB8AC3E}">
        <p14:creationId xmlns:p14="http://schemas.microsoft.com/office/powerpoint/2010/main" val="31584909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457200" y="278297"/>
            <a:ext cx="8433933" cy="338554"/>
          </a:xfrm>
        </p:spPr>
        <p:txBody>
          <a:bodyPr/>
          <a:lstStyle/>
          <a:p>
            <a:r>
              <a:rPr lang="en-US" sz="2200" dirty="0">
                <a:solidFill>
                  <a:srgbClr val="002060"/>
                </a:solidFill>
              </a:rPr>
              <a:t>MassHealth Payment and Care Delivery Innovation (PCDI)</a:t>
            </a:r>
            <a:endParaRPr lang="en-US" sz="2200" strike="sngStrike" dirty="0">
              <a:solidFill>
                <a:srgbClr val="FF0000"/>
              </a:solidFill>
            </a:endParaRPr>
          </a:p>
        </p:txBody>
      </p:sp>
      <p:sp>
        <p:nvSpPr>
          <p:cNvPr id="15" name="Text Placeholder 1"/>
          <p:cNvSpPr>
            <a:spLocks noGrp="1"/>
          </p:cNvSpPr>
          <p:nvPr>
            <p:ph type="body" sz="quarter" idx="4294967295"/>
          </p:nvPr>
        </p:nvSpPr>
        <p:spPr>
          <a:xfrm>
            <a:off x="457200" y="1419593"/>
            <a:ext cx="5557288" cy="43387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The Executive Office of Health and Human Services (EOHHS) is committed to a sustainable, robust MassHealth program for its 1.8 million member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EOHHS is making changes to MassHealth for managed care-eligible members – introducing ACOs and Community Partners (CPs) to emphasize care coordination and member-centric care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ACOs have groups of primary care providers (PCPs) and other providers who work together to improve member care coordination and better meet overall health care needs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2060"/>
                </a:solidFill>
              </a:rPr>
              <a:t>Community Partners (CPs) are community-based experts who will provide care coordination services to and connect members with available behavioral health and LTSS services</a:t>
            </a:r>
            <a:r>
              <a:rPr lang="en-US" dirty="0">
                <a:solidFill>
                  <a:srgbClr val="002060"/>
                </a:solidFill>
              </a:rPr>
              <a:t>. CPs will be available to certain members with high needs as determined by MassHealth or the ACO/MCO.  Providers make referrals for consideration. </a:t>
            </a:r>
            <a:endParaRPr lang="en-US" sz="1600" dirty="0">
              <a:solidFill>
                <a:srgbClr val="002060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014488" y="1419593"/>
            <a:ext cx="2766370" cy="2882773"/>
            <a:chOff x="5896163" y="1483419"/>
            <a:chExt cx="2766370" cy="2882773"/>
          </a:xfrm>
        </p:grpSpPr>
        <p:grpSp>
          <p:nvGrpSpPr>
            <p:cNvPr id="5" name="Group 4"/>
            <p:cNvGrpSpPr/>
            <p:nvPr/>
          </p:nvGrpSpPr>
          <p:grpSpPr>
            <a:xfrm>
              <a:off x="5896163" y="1483419"/>
              <a:ext cx="2766370" cy="2882773"/>
              <a:chOff x="6233080" y="1456749"/>
              <a:chExt cx="2766370" cy="2882773"/>
            </a:xfrm>
          </p:grpSpPr>
          <p:sp>
            <p:nvSpPr>
              <p:cNvPr id="3" name="Donut 2"/>
              <p:cNvSpPr/>
              <p:nvPr/>
            </p:nvSpPr>
            <p:spPr bwMode="gray">
              <a:xfrm>
                <a:off x="6233080" y="1456749"/>
                <a:ext cx="2766370" cy="2882773"/>
              </a:xfrm>
              <a:prstGeom prst="donut">
                <a:avLst/>
              </a:prstGeom>
              <a:solidFill>
                <a:srgbClr val="005F85"/>
              </a:solidFill>
              <a:ln w="19050" algn="ctr">
                <a:solidFill>
                  <a:srgbClr val="005F85"/>
                </a:solidFill>
                <a:miter lim="800000"/>
                <a:headEnd/>
                <a:tailEnd/>
              </a:ln>
            </p:spPr>
            <p:txBody>
              <a:bodyPr wrap="square" lIns="88900" tIns="88900" rIns="88900" bIns="88900" rtlCol="0" anchor="ctr"/>
              <a:lstStyle/>
              <a:p>
                <a:pPr algn="ctr">
                  <a:lnSpc>
                    <a:spcPct val="106000"/>
                  </a:lnSpc>
                  <a:buFont typeface="Wingdings 2" pitchFamily="18" charset="2"/>
                  <a:buNone/>
                </a:pPr>
                <a:endParaRPr lang="en-US" sz="1600" b="1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24"/>
              <p:cNvSpPr>
                <a:spLocks/>
              </p:cNvSpPr>
              <p:nvPr/>
            </p:nvSpPr>
            <p:spPr bwMode="auto">
              <a:xfrm rot="10800000">
                <a:off x="6998841" y="2847995"/>
                <a:ext cx="983430" cy="486627"/>
              </a:xfrm>
              <a:custGeom>
                <a:avLst/>
                <a:gdLst>
                  <a:gd name="T0" fmla="*/ 324 w 324"/>
                  <a:gd name="T1" fmla="*/ 0 h 151"/>
                  <a:gd name="T2" fmla="*/ 324 w 324"/>
                  <a:gd name="T3" fmla="*/ 151 h 151"/>
                  <a:gd name="T4" fmla="*/ 308 w 324"/>
                  <a:gd name="T5" fmla="*/ 146 h 151"/>
                  <a:gd name="T6" fmla="*/ 308 w 324"/>
                  <a:gd name="T7" fmla="*/ 16 h 151"/>
                  <a:gd name="T8" fmla="*/ 17 w 324"/>
                  <a:gd name="T9" fmla="*/ 16 h 151"/>
                  <a:gd name="T10" fmla="*/ 17 w 324"/>
                  <a:gd name="T11" fmla="*/ 56 h 151"/>
                  <a:gd name="T12" fmla="*/ 0 w 324"/>
                  <a:gd name="T13" fmla="*/ 49 h 151"/>
                  <a:gd name="T14" fmla="*/ 0 w 324"/>
                  <a:gd name="T15" fmla="*/ 0 h 151"/>
                  <a:gd name="T16" fmla="*/ 324 w 324"/>
                  <a:gd name="T17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151">
                    <a:moveTo>
                      <a:pt x="324" y="0"/>
                    </a:moveTo>
                    <a:lnTo>
                      <a:pt x="324" y="151"/>
                    </a:lnTo>
                    <a:lnTo>
                      <a:pt x="308" y="146"/>
                    </a:lnTo>
                    <a:lnTo>
                      <a:pt x="308" y="16"/>
                    </a:lnTo>
                    <a:lnTo>
                      <a:pt x="17" y="16"/>
                    </a:lnTo>
                    <a:lnTo>
                      <a:pt x="17" y="56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24" y="0"/>
                    </a:lnTo>
                    <a:close/>
                  </a:path>
                </a:pathLst>
              </a:custGeom>
              <a:solidFill>
                <a:srgbClr val="2EA939"/>
              </a:solidFill>
              <a:ln w="9525">
                <a:solidFill>
                  <a:srgbClr val="2EA939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6511456" y="2194836"/>
              <a:ext cx="2000250" cy="1785370"/>
              <a:chOff x="5934075" y="757238"/>
              <a:chExt cx="1046163" cy="879476"/>
            </a:xfrm>
            <a:solidFill>
              <a:srgbClr val="2EA939"/>
            </a:solidFill>
          </p:grpSpPr>
          <p:sp>
            <p:nvSpPr>
              <p:cNvPr id="19" name="Freeform 22"/>
              <p:cNvSpPr>
                <a:spLocks/>
              </p:cNvSpPr>
              <p:nvPr/>
            </p:nvSpPr>
            <p:spPr bwMode="auto">
              <a:xfrm>
                <a:off x="6502400" y="930276"/>
                <a:ext cx="477838" cy="477838"/>
              </a:xfrm>
              <a:custGeom>
                <a:avLst/>
                <a:gdLst>
                  <a:gd name="T0" fmla="*/ 190 w 190"/>
                  <a:gd name="T1" fmla="*/ 89 h 190"/>
                  <a:gd name="T2" fmla="*/ 190 w 190"/>
                  <a:gd name="T3" fmla="*/ 119 h 190"/>
                  <a:gd name="T4" fmla="*/ 185 w 190"/>
                  <a:gd name="T5" fmla="*/ 124 h 190"/>
                  <a:gd name="T6" fmla="*/ 168 w 190"/>
                  <a:gd name="T7" fmla="*/ 124 h 190"/>
                  <a:gd name="T8" fmla="*/ 158 w 190"/>
                  <a:gd name="T9" fmla="*/ 148 h 190"/>
                  <a:gd name="T10" fmla="*/ 170 w 190"/>
                  <a:gd name="T11" fmla="*/ 160 h 190"/>
                  <a:gd name="T12" fmla="*/ 170 w 190"/>
                  <a:gd name="T13" fmla="*/ 167 h 190"/>
                  <a:gd name="T14" fmla="*/ 149 w 190"/>
                  <a:gd name="T15" fmla="*/ 188 h 190"/>
                  <a:gd name="T16" fmla="*/ 143 w 190"/>
                  <a:gd name="T17" fmla="*/ 188 h 190"/>
                  <a:gd name="T18" fmla="*/ 130 w 190"/>
                  <a:gd name="T19" fmla="*/ 176 h 190"/>
                  <a:gd name="T20" fmla="*/ 117 w 190"/>
                  <a:gd name="T21" fmla="*/ 182 h 190"/>
                  <a:gd name="T22" fmla="*/ 114 w 190"/>
                  <a:gd name="T23" fmla="*/ 158 h 190"/>
                  <a:gd name="T24" fmla="*/ 148 w 190"/>
                  <a:gd name="T25" fmla="*/ 104 h 190"/>
                  <a:gd name="T26" fmla="*/ 86 w 190"/>
                  <a:gd name="T27" fmla="*/ 43 h 190"/>
                  <a:gd name="T28" fmla="*/ 35 w 190"/>
                  <a:gd name="T29" fmla="*/ 71 h 190"/>
                  <a:gd name="T30" fmla="*/ 11 w 190"/>
                  <a:gd name="T31" fmla="*/ 66 h 190"/>
                  <a:gd name="T32" fmla="*/ 14 w 190"/>
                  <a:gd name="T33" fmla="*/ 60 h 190"/>
                  <a:gd name="T34" fmla="*/ 2 w 190"/>
                  <a:gd name="T35" fmla="*/ 48 h 190"/>
                  <a:gd name="T36" fmla="*/ 2 w 190"/>
                  <a:gd name="T37" fmla="*/ 41 h 190"/>
                  <a:gd name="T38" fmla="*/ 23 w 190"/>
                  <a:gd name="T39" fmla="*/ 20 h 190"/>
                  <a:gd name="T40" fmla="*/ 30 w 190"/>
                  <a:gd name="T41" fmla="*/ 20 h 190"/>
                  <a:gd name="T42" fmla="*/ 42 w 190"/>
                  <a:gd name="T43" fmla="*/ 32 h 190"/>
                  <a:gd name="T44" fmla="*/ 67 w 190"/>
                  <a:gd name="T45" fmla="*/ 22 h 190"/>
                  <a:gd name="T46" fmla="*/ 67 w 190"/>
                  <a:gd name="T47" fmla="*/ 5 h 190"/>
                  <a:gd name="T48" fmla="*/ 72 w 190"/>
                  <a:gd name="T49" fmla="*/ 0 h 190"/>
                  <a:gd name="T50" fmla="*/ 101 w 190"/>
                  <a:gd name="T51" fmla="*/ 0 h 190"/>
                  <a:gd name="T52" fmla="*/ 106 w 190"/>
                  <a:gd name="T53" fmla="*/ 5 h 190"/>
                  <a:gd name="T54" fmla="*/ 106 w 190"/>
                  <a:gd name="T55" fmla="*/ 22 h 190"/>
                  <a:gd name="T56" fmla="*/ 130 w 190"/>
                  <a:gd name="T57" fmla="*/ 32 h 190"/>
                  <a:gd name="T58" fmla="*/ 143 w 190"/>
                  <a:gd name="T59" fmla="*/ 20 h 190"/>
                  <a:gd name="T60" fmla="*/ 149 w 190"/>
                  <a:gd name="T61" fmla="*/ 20 h 190"/>
                  <a:gd name="T62" fmla="*/ 170 w 190"/>
                  <a:gd name="T63" fmla="*/ 41 h 190"/>
                  <a:gd name="T64" fmla="*/ 170 w 190"/>
                  <a:gd name="T65" fmla="*/ 48 h 190"/>
                  <a:gd name="T66" fmla="*/ 158 w 190"/>
                  <a:gd name="T67" fmla="*/ 60 h 190"/>
                  <a:gd name="T68" fmla="*/ 168 w 190"/>
                  <a:gd name="T69" fmla="*/ 84 h 190"/>
                  <a:gd name="T70" fmla="*/ 185 w 190"/>
                  <a:gd name="T71" fmla="*/ 84 h 190"/>
                  <a:gd name="T72" fmla="*/ 190 w 190"/>
                  <a:gd name="T73" fmla="*/ 89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90" h="190">
                    <a:moveTo>
                      <a:pt x="190" y="89"/>
                    </a:moveTo>
                    <a:cubicBezTo>
                      <a:pt x="190" y="119"/>
                      <a:pt x="190" y="119"/>
                      <a:pt x="190" y="119"/>
                    </a:cubicBezTo>
                    <a:cubicBezTo>
                      <a:pt x="190" y="121"/>
                      <a:pt x="188" y="124"/>
                      <a:pt x="185" y="124"/>
                    </a:cubicBezTo>
                    <a:cubicBezTo>
                      <a:pt x="168" y="124"/>
                      <a:pt x="168" y="124"/>
                      <a:pt x="168" y="124"/>
                    </a:cubicBezTo>
                    <a:cubicBezTo>
                      <a:pt x="166" y="132"/>
                      <a:pt x="163" y="141"/>
                      <a:pt x="158" y="148"/>
                    </a:cubicBezTo>
                    <a:cubicBezTo>
                      <a:pt x="170" y="160"/>
                      <a:pt x="170" y="160"/>
                      <a:pt x="170" y="160"/>
                    </a:cubicBezTo>
                    <a:cubicBezTo>
                      <a:pt x="172" y="162"/>
                      <a:pt x="172" y="165"/>
                      <a:pt x="170" y="167"/>
                    </a:cubicBezTo>
                    <a:cubicBezTo>
                      <a:pt x="149" y="188"/>
                      <a:pt x="149" y="188"/>
                      <a:pt x="149" y="188"/>
                    </a:cubicBezTo>
                    <a:cubicBezTo>
                      <a:pt x="148" y="190"/>
                      <a:pt x="144" y="190"/>
                      <a:pt x="143" y="188"/>
                    </a:cubicBezTo>
                    <a:cubicBezTo>
                      <a:pt x="130" y="176"/>
                      <a:pt x="130" y="176"/>
                      <a:pt x="130" y="176"/>
                    </a:cubicBezTo>
                    <a:cubicBezTo>
                      <a:pt x="126" y="178"/>
                      <a:pt x="122" y="181"/>
                      <a:pt x="117" y="182"/>
                    </a:cubicBezTo>
                    <a:cubicBezTo>
                      <a:pt x="117" y="174"/>
                      <a:pt x="116" y="166"/>
                      <a:pt x="114" y="158"/>
                    </a:cubicBezTo>
                    <a:cubicBezTo>
                      <a:pt x="134" y="148"/>
                      <a:pt x="148" y="128"/>
                      <a:pt x="148" y="104"/>
                    </a:cubicBezTo>
                    <a:cubicBezTo>
                      <a:pt x="148" y="70"/>
                      <a:pt x="120" y="43"/>
                      <a:pt x="86" y="43"/>
                    </a:cubicBezTo>
                    <a:cubicBezTo>
                      <a:pt x="65" y="43"/>
                      <a:pt x="46" y="54"/>
                      <a:pt x="35" y="71"/>
                    </a:cubicBezTo>
                    <a:cubicBezTo>
                      <a:pt x="27" y="69"/>
                      <a:pt x="19" y="67"/>
                      <a:pt x="11" y="66"/>
                    </a:cubicBezTo>
                    <a:cubicBezTo>
                      <a:pt x="12" y="64"/>
                      <a:pt x="13" y="62"/>
                      <a:pt x="14" y="60"/>
                    </a:cubicBezTo>
                    <a:cubicBezTo>
                      <a:pt x="2" y="48"/>
                      <a:pt x="2" y="48"/>
                      <a:pt x="2" y="48"/>
                    </a:cubicBezTo>
                    <a:cubicBezTo>
                      <a:pt x="0" y="46"/>
                      <a:pt x="0" y="43"/>
                      <a:pt x="2" y="41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5" y="18"/>
                      <a:pt x="28" y="18"/>
                      <a:pt x="30" y="20"/>
                    </a:cubicBezTo>
                    <a:cubicBezTo>
                      <a:pt x="42" y="32"/>
                      <a:pt x="42" y="32"/>
                      <a:pt x="42" y="32"/>
                    </a:cubicBezTo>
                    <a:cubicBezTo>
                      <a:pt x="50" y="27"/>
                      <a:pt x="58" y="24"/>
                      <a:pt x="67" y="22"/>
                    </a:cubicBezTo>
                    <a:cubicBezTo>
                      <a:pt x="67" y="5"/>
                      <a:pt x="67" y="5"/>
                      <a:pt x="67" y="5"/>
                    </a:cubicBezTo>
                    <a:cubicBezTo>
                      <a:pt x="67" y="2"/>
                      <a:pt x="69" y="0"/>
                      <a:pt x="72" y="0"/>
                    </a:cubicBezTo>
                    <a:cubicBezTo>
                      <a:pt x="101" y="0"/>
                      <a:pt x="101" y="0"/>
                      <a:pt x="101" y="0"/>
                    </a:cubicBezTo>
                    <a:cubicBezTo>
                      <a:pt x="104" y="0"/>
                      <a:pt x="106" y="2"/>
                      <a:pt x="106" y="5"/>
                    </a:cubicBezTo>
                    <a:cubicBezTo>
                      <a:pt x="106" y="22"/>
                      <a:pt x="106" y="22"/>
                      <a:pt x="106" y="22"/>
                    </a:cubicBezTo>
                    <a:cubicBezTo>
                      <a:pt x="115" y="24"/>
                      <a:pt x="123" y="27"/>
                      <a:pt x="130" y="32"/>
                    </a:cubicBezTo>
                    <a:cubicBezTo>
                      <a:pt x="143" y="20"/>
                      <a:pt x="143" y="20"/>
                      <a:pt x="143" y="20"/>
                    </a:cubicBezTo>
                    <a:cubicBezTo>
                      <a:pt x="144" y="18"/>
                      <a:pt x="148" y="18"/>
                      <a:pt x="149" y="20"/>
                    </a:cubicBezTo>
                    <a:cubicBezTo>
                      <a:pt x="170" y="41"/>
                      <a:pt x="170" y="41"/>
                      <a:pt x="170" y="41"/>
                    </a:cubicBezTo>
                    <a:cubicBezTo>
                      <a:pt x="172" y="43"/>
                      <a:pt x="172" y="46"/>
                      <a:pt x="170" y="48"/>
                    </a:cubicBezTo>
                    <a:cubicBezTo>
                      <a:pt x="158" y="60"/>
                      <a:pt x="158" y="60"/>
                      <a:pt x="158" y="60"/>
                    </a:cubicBezTo>
                    <a:cubicBezTo>
                      <a:pt x="163" y="67"/>
                      <a:pt x="166" y="75"/>
                      <a:pt x="168" y="84"/>
                    </a:cubicBezTo>
                    <a:cubicBezTo>
                      <a:pt x="185" y="84"/>
                      <a:pt x="185" y="84"/>
                      <a:pt x="185" y="84"/>
                    </a:cubicBezTo>
                    <a:cubicBezTo>
                      <a:pt x="188" y="84"/>
                      <a:pt x="190" y="86"/>
                      <a:pt x="190" y="8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0" name="Freeform 23"/>
              <p:cNvSpPr>
                <a:spLocks noEditPoints="1"/>
              </p:cNvSpPr>
              <p:nvPr/>
            </p:nvSpPr>
            <p:spPr bwMode="auto">
              <a:xfrm>
                <a:off x="6243638" y="1114426"/>
                <a:ext cx="522288" cy="522288"/>
              </a:xfrm>
              <a:custGeom>
                <a:avLst/>
                <a:gdLst>
                  <a:gd name="T0" fmla="*/ 208 w 208"/>
                  <a:gd name="T1" fmla="*/ 90 h 208"/>
                  <a:gd name="T2" fmla="*/ 208 w 208"/>
                  <a:gd name="T3" fmla="*/ 119 h 208"/>
                  <a:gd name="T4" fmla="*/ 203 w 208"/>
                  <a:gd name="T5" fmla="*/ 124 h 208"/>
                  <a:gd name="T6" fmla="*/ 186 w 208"/>
                  <a:gd name="T7" fmla="*/ 124 h 208"/>
                  <a:gd name="T8" fmla="*/ 176 w 208"/>
                  <a:gd name="T9" fmla="*/ 148 h 208"/>
                  <a:gd name="T10" fmla="*/ 188 w 208"/>
                  <a:gd name="T11" fmla="*/ 161 h 208"/>
                  <a:gd name="T12" fmla="*/ 188 w 208"/>
                  <a:gd name="T13" fmla="*/ 167 h 208"/>
                  <a:gd name="T14" fmla="*/ 167 w 208"/>
                  <a:gd name="T15" fmla="*/ 188 h 208"/>
                  <a:gd name="T16" fmla="*/ 160 w 208"/>
                  <a:gd name="T17" fmla="*/ 188 h 208"/>
                  <a:gd name="T18" fmla="*/ 148 w 208"/>
                  <a:gd name="T19" fmla="*/ 176 h 208"/>
                  <a:gd name="T20" fmla="*/ 124 w 208"/>
                  <a:gd name="T21" fmla="*/ 186 h 208"/>
                  <a:gd name="T22" fmla="*/ 124 w 208"/>
                  <a:gd name="T23" fmla="*/ 203 h 208"/>
                  <a:gd name="T24" fmla="*/ 119 w 208"/>
                  <a:gd name="T25" fmla="*/ 208 h 208"/>
                  <a:gd name="T26" fmla="*/ 89 w 208"/>
                  <a:gd name="T27" fmla="*/ 208 h 208"/>
                  <a:gd name="T28" fmla="*/ 84 w 208"/>
                  <a:gd name="T29" fmla="*/ 203 h 208"/>
                  <a:gd name="T30" fmla="*/ 84 w 208"/>
                  <a:gd name="T31" fmla="*/ 186 h 208"/>
                  <a:gd name="T32" fmla="*/ 60 w 208"/>
                  <a:gd name="T33" fmla="*/ 176 h 208"/>
                  <a:gd name="T34" fmla="*/ 48 w 208"/>
                  <a:gd name="T35" fmla="*/ 188 h 208"/>
                  <a:gd name="T36" fmla="*/ 41 w 208"/>
                  <a:gd name="T37" fmla="*/ 188 h 208"/>
                  <a:gd name="T38" fmla="*/ 20 w 208"/>
                  <a:gd name="T39" fmla="*/ 167 h 208"/>
                  <a:gd name="T40" fmla="*/ 20 w 208"/>
                  <a:gd name="T41" fmla="*/ 161 h 208"/>
                  <a:gd name="T42" fmla="*/ 32 w 208"/>
                  <a:gd name="T43" fmla="*/ 148 h 208"/>
                  <a:gd name="T44" fmla="*/ 22 w 208"/>
                  <a:gd name="T45" fmla="*/ 124 h 208"/>
                  <a:gd name="T46" fmla="*/ 5 w 208"/>
                  <a:gd name="T47" fmla="*/ 124 h 208"/>
                  <a:gd name="T48" fmla="*/ 0 w 208"/>
                  <a:gd name="T49" fmla="*/ 119 h 208"/>
                  <a:gd name="T50" fmla="*/ 0 w 208"/>
                  <a:gd name="T51" fmla="*/ 90 h 208"/>
                  <a:gd name="T52" fmla="*/ 0 w 208"/>
                  <a:gd name="T53" fmla="*/ 88 h 208"/>
                  <a:gd name="T54" fmla="*/ 2 w 208"/>
                  <a:gd name="T55" fmla="*/ 86 h 208"/>
                  <a:gd name="T56" fmla="*/ 5 w 208"/>
                  <a:gd name="T57" fmla="*/ 85 h 208"/>
                  <a:gd name="T58" fmla="*/ 22 w 208"/>
                  <a:gd name="T59" fmla="*/ 85 h 208"/>
                  <a:gd name="T60" fmla="*/ 32 w 208"/>
                  <a:gd name="T61" fmla="*/ 60 h 208"/>
                  <a:gd name="T62" fmla="*/ 20 w 208"/>
                  <a:gd name="T63" fmla="*/ 48 h 208"/>
                  <a:gd name="T64" fmla="*/ 20 w 208"/>
                  <a:gd name="T65" fmla="*/ 41 h 208"/>
                  <a:gd name="T66" fmla="*/ 41 w 208"/>
                  <a:gd name="T67" fmla="*/ 20 h 208"/>
                  <a:gd name="T68" fmla="*/ 48 w 208"/>
                  <a:gd name="T69" fmla="*/ 20 h 208"/>
                  <a:gd name="T70" fmla="*/ 60 w 208"/>
                  <a:gd name="T71" fmla="*/ 32 h 208"/>
                  <a:gd name="T72" fmla="*/ 84 w 208"/>
                  <a:gd name="T73" fmla="*/ 22 h 208"/>
                  <a:gd name="T74" fmla="*/ 84 w 208"/>
                  <a:gd name="T75" fmla="*/ 5 h 208"/>
                  <a:gd name="T76" fmla="*/ 89 w 208"/>
                  <a:gd name="T77" fmla="*/ 0 h 208"/>
                  <a:gd name="T78" fmla="*/ 119 w 208"/>
                  <a:gd name="T79" fmla="*/ 0 h 208"/>
                  <a:gd name="T80" fmla="*/ 124 w 208"/>
                  <a:gd name="T81" fmla="*/ 5 h 208"/>
                  <a:gd name="T82" fmla="*/ 124 w 208"/>
                  <a:gd name="T83" fmla="*/ 22 h 208"/>
                  <a:gd name="T84" fmla="*/ 148 w 208"/>
                  <a:gd name="T85" fmla="*/ 32 h 208"/>
                  <a:gd name="T86" fmla="*/ 160 w 208"/>
                  <a:gd name="T87" fmla="*/ 20 h 208"/>
                  <a:gd name="T88" fmla="*/ 167 w 208"/>
                  <a:gd name="T89" fmla="*/ 20 h 208"/>
                  <a:gd name="T90" fmla="*/ 188 w 208"/>
                  <a:gd name="T91" fmla="*/ 41 h 208"/>
                  <a:gd name="T92" fmla="*/ 188 w 208"/>
                  <a:gd name="T93" fmla="*/ 48 h 208"/>
                  <a:gd name="T94" fmla="*/ 176 w 208"/>
                  <a:gd name="T95" fmla="*/ 60 h 208"/>
                  <a:gd name="T96" fmla="*/ 186 w 208"/>
                  <a:gd name="T97" fmla="*/ 85 h 208"/>
                  <a:gd name="T98" fmla="*/ 203 w 208"/>
                  <a:gd name="T99" fmla="*/ 85 h 208"/>
                  <a:gd name="T100" fmla="*/ 208 w 208"/>
                  <a:gd name="T101" fmla="*/ 90 h 208"/>
                  <a:gd name="T102" fmla="*/ 151 w 208"/>
                  <a:gd name="T103" fmla="*/ 104 h 208"/>
                  <a:gd name="T104" fmla="*/ 104 w 208"/>
                  <a:gd name="T105" fmla="*/ 57 h 208"/>
                  <a:gd name="T106" fmla="*/ 57 w 208"/>
                  <a:gd name="T107" fmla="*/ 104 h 208"/>
                  <a:gd name="T108" fmla="*/ 104 w 208"/>
                  <a:gd name="T109" fmla="*/ 152 h 208"/>
                  <a:gd name="T110" fmla="*/ 151 w 208"/>
                  <a:gd name="T111" fmla="*/ 104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08" h="208">
                    <a:moveTo>
                      <a:pt x="208" y="90"/>
                    </a:moveTo>
                    <a:cubicBezTo>
                      <a:pt x="208" y="119"/>
                      <a:pt x="208" y="119"/>
                      <a:pt x="208" y="119"/>
                    </a:cubicBezTo>
                    <a:cubicBezTo>
                      <a:pt x="208" y="122"/>
                      <a:pt x="206" y="124"/>
                      <a:pt x="203" y="124"/>
                    </a:cubicBezTo>
                    <a:cubicBezTo>
                      <a:pt x="186" y="124"/>
                      <a:pt x="186" y="124"/>
                      <a:pt x="186" y="124"/>
                    </a:cubicBezTo>
                    <a:cubicBezTo>
                      <a:pt x="184" y="133"/>
                      <a:pt x="180" y="141"/>
                      <a:pt x="176" y="148"/>
                    </a:cubicBezTo>
                    <a:cubicBezTo>
                      <a:pt x="188" y="161"/>
                      <a:pt x="188" y="161"/>
                      <a:pt x="188" y="161"/>
                    </a:cubicBezTo>
                    <a:cubicBezTo>
                      <a:pt x="190" y="162"/>
                      <a:pt x="190" y="166"/>
                      <a:pt x="188" y="167"/>
                    </a:cubicBezTo>
                    <a:cubicBezTo>
                      <a:pt x="167" y="188"/>
                      <a:pt x="167" y="188"/>
                      <a:pt x="167" y="188"/>
                    </a:cubicBezTo>
                    <a:cubicBezTo>
                      <a:pt x="165" y="190"/>
                      <a:pt x="162" y="190"/>
                      <a:pt x="160" y="188"/>
                    </a:cubicBezTo>
                    <a:cubicBezTo>
                      <a:pt x="148" y="176"/>
                      <a:pt x="148" y="176"/>
                      <a:pt x="148" y="176"/>
                    </a:cubicBezTo>
                    <a:cubicBezTo>
                      <a:pt x="141" y="181"/>
                      <a:pt x="132" y="184"/>
                      <a:pt x="124" y="186"/>
                    </a:cubicBezTo>
                    <a:cubicBezTo>
                      <a:pt x="124" y="203"/>
                      <a:pt x="124" y="203"/>
                      <a:pt x="124" y="203"/>
                    </a:cubicBezTo>
                    <a:cubicBezTo>
                      <a:pt x="124" y="206"/>
                      <a:pt x="121" y="208"/>
                      <a:pt x="119" y="208"/>
                    </a:cubicBezTo>
                    <a:cubicBezTo>
                      <a:pt x="89" y="208"/>
                      <a:pt x="89" y="208"/>
                      <a:pt x="89" y="208"/>
                    </a:cubicBezTo>
                    <a:cubicBezTo>
                      <a:pt x="86" y="208"/>
                      <a:pt x="84" y="206"/>
                      <a:pt x="84" y="203"/>
                    </a:cubicBezTo>
                    <a:cubicBezTo>
                      <a:pt x="84" y="186"/>
                      <a:pt x="84" y="186"/>
                      <a:pt x="84" y="186"/>
                    </a:cubicBezTo>
                    <a:cubicBezTo>
                      <a:pt x="76" y="184"/>
                      <a:pt x="67" y="181"/>
                      <a:pt x="60" y="176"/>
                    </a:cubicBezTo>
                    <a:cubicBezTo>
                      <a:pt x="48" y="188"/>
                      <a:pt x="48" y="188"/>
                      <a:pt x="48" y="188"/>
                    </a:cubicBezTo>
                    <a:cubicBezTo>
                      <a:pt x="46" y="190"/>
                      <a:pt x="43" y="190"/>
                      <a:pt x="41" y="188"/>
                    </a:cubicBezTo>
                    <a:cubicBezTo>
                      <a:pt x="20" y="167"/>
                      <a:pt x="20" y="167"/>
                      <a:pt x="20" y="167"/>
                    </a:cubicBezTo>
                    <a:cubicBezTo>
                      <a:pt x="18" y="166"/>
                      <a:pt x="18" y="162"/>
                      <a:pt x="20" y="161"/>
                    </a:cubicBezTo>
                    <a:cubicBezTo>
                      <a:pt x="32" y="148"/>
                      <a:pt x="32" y="148"/>
                      <a:pt x="32" y="148"/>
                    </a:cubicBezTo>
                    <a:cubicBezTo>
                      <a:pt x="27" y="141"/>
                      <a:pt x="24" y="133"/>
                      <a:pt x="22" y="124"/>
                    </a:cubicBezTo>
                    <a:cubicBezTo>
                      <a:pt x="5" y="124"/>
                      <a:pt x="5" y="124"/>
                      <a:pt x="5" y="124"/>
                    </a:cubicBezTo>
                    <a:cubicBezTo>
                      <a:pt x="2" y="124"/>
                      <a:pt x="0" y="122"/>
                      <a:pt x="0" y="119"/>
                    </a:cubicBezTo>
                    <a:cubicBezTo>
                      <a:pt x="0" y="90"/>
                      <a:pt x="0" y="90"/>
                      <a:pt x="0" y="90"/>
                    </a:cubicBezTo>
                    <a:cubicBezTo>
                      <a:pt x="0" y="89"/>
                      <a:pt x="0" y="88"/>
                      <a:pt x="0" y="88"/>
                    </a:cubicBezTo>
                    <a:cubicBezTo>
                      <a:pt x="1" y="87"/>
                      <a:pt x="2" y="86"/>
                      <a:pt x="2" y="86"/>
                    </a:cubicBezTo>
                    <a:cubicBezTo>
                      <a:pt x="3" y="85"/>
                      <a:pt x="4" y="85"/>
                      <a:pt x="5" y="85"/>
                    </a:cubicBezTo>
                    <a:cubicBezTo>
                      <a:pt x="22" y="85"/>
                      <a:pt x="22" y="85"/>
                      <a:pt x="22" y="85"/>
                    </a:cubicBezTo>
                    <a:cubicBezTo>
                      <a:pt x="24" y="76"/>
                      <a:pt x="27" y="68"/>
                      <a:pt x="32" y="60"/>
                    </a:cubicBezTo>
                    <a:cubicBezTo>
                      <a:pt x="20" y="48"/>
                      <a:pt x="20" y="48"/>
                      <a:pt x="20" y="48"/>
                    </a:cubicBezTo>
                    <a:cubicBezTo>
                      <a:pt x="18" y="46"/>
                      <a:pt x="18" y="43"/>
                      <a:pt x="20" y="41"/>
                    </a:cubicBezTo>
                    <a:cubicBezTo>
                      <a:pt x="41" y="20"/>
                      <a:pt x="41" y="20"/>
                      <a:pt x="41" y="20"/>
                    </a:cubicBezTo>
                    <a:cubicBezTo>
                      <a:pt x="43" y="18"/>
                      <a:pt x="46" y="18"/>
                      <a:pt x="48" y="20"/>
                    </a:cubicBezTo>
                    <a:cubicBezTo>
                      <a:pt x="60" y="32"/>
                      <a:pt x="60" y="32"/>
                      <a:pt x="60" y="32"/>
                    </a:cubicBezTo>
                    <a:cubicBezTo>
                      <a:pt x="67" y="28"/>
                      <a:pt x="76" y="24"/>
                      <a:pt x="84" y="22"/>
                    </a:cubicBezTo>
                    <a:cubicBezTo>
                      <a:pt x="84" y="5"/>
                      <a:pt x="84" y="5"/>
                      <a:pt x="84" y="5"/>
                    </a:cubicBezTo>
                    <a:cubicBezTo>
                      <a:pt x="84" y="3"/>
                      <a:pt x="86" y="0"/>
                      <a:pt x="89" y="0"/>
                    </a:cubicBezTo>
                    <a:cubicBezTo>
                      <a:pt x="119" y="0"/>
                      <a:pt x="119" y="0"/>
                      <a:pt x="119" y="0"/>
                    </a:cubicBezTo>
                    <a:cubicBezTo>
                      <a:pt x="121" y="0"/>
                      <a:pt x="124" y="3"/>
                      <a:pt x="124" y="5"/>
                    </a:cubicBezTo>
                    <a:cubicBezTo>
                      <a:pt x="124" y="22"/>
                      <a:pt x="124" y="22"/>
                      <a:pt x="124" y="22"/>
                    </a:cubicBezTo>
                    <a:cubicBezTo>
                      <a:pt x="132" y="24"/>
                      <a:pt x="141" y="28"/>
                      <a:pt x="148" y="32"/>
                    </a:cubicBezTo>
                    <a:cubicBezTo>
                      <a:pt x="160" y="20"/>
                      <a:pt x="160" y="20"/>
                      <a:pt x="160" y="20"/>
                    </a:cubicBezTo>
                    <a:cubicBezTo>
                      <a:pt x="162" y="18"/>
                      <a:pt x="165" y="18"/>
                      <a:pt x="167" y="20"/>
                    </a:cubicBezTo>
                    <a:cubicBezTo>
                      <a:pt x="188" y="41"/>
                      <a:pt x="188" y="41"/>
                      <a:pt x="188" y="41"/>
                    </a:cubicBezTo>
                    <a:cubicBezTo>
                      <a:pt x="190" y="43"/>
                      <a:pt x="190" y="46"/>
                      <a:pt x="188" y="48"/>
                    </a:cubicBezTo>
                    <a:cubicBezTo>
                      <a:pt x="176" y="60"/>
                      <a:pt x="176" y="60"/>
                      <a:pt x="176" y="60"/>
                    </a:cubicBezTo>
                    <a:cubicBezTo>
                      <a:pt x="180" y="68"/>
                      <a:pt x="184" y="76"/>
                      <a:pt x="186" y="85"/>
                    </a:cubicBezTo>
                    <a:cubicBezTo>
                      <a:pt x="203" y="85"/>
                      <a:pt x="203" y="85"/>
                      <a:pt x="203" y="85"/>
                    </a:cubicBezTo>
                    <a:cubicBezTo>
                      <a:pt x="206" y="85"/>
                      <a:pt x="208" y="87"/>
                      <a:pt x="208" y="90"/>
                    </a:cubicBezTo>
                    <a:close/>
                    <a:moveTo>
                      <a:pt x="151" y="104"/>
                    </a:moveTo>
                    <a:cubicBezTo>
                      <a:pt x="151" y="78"/>
                      <a:pt x="130" y="57"/>
                      <a:pt x="104" y="57"/>
                    </a:cubicBezTo>
                    <a:cubicBezTo>
                      <a:pt x="78" y="57"/>
                      <a:pt x="57" y="78"/>
                      <a:pt x="57" y="104"/>
                    </a:cubicBezTo>
                    <a:cubicBezTo>
                      <a:pt x="57" y="130"/>
                      <a:pt x="78" y="152"/>
                      <a:pt x="104" y="152"/>
                    </a:cubicBezTo>
                    <a:cubicBezTo>
                      <a:pt x="130" y="152"/>
                      <a:pt x="151" y="130"/>
                      <a:pt x="151" y="1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1" name="Freeform 24"/>
              <p:cNvSpPr>
                <a:spLocks/>
              </p:cNvSpPr>
              <p:nvPr/>
            </p:nvSpPr>
            <p:spPr bwMode="auto">
              <a:xfrm>
                <a:off x="6010275" y="757238"/>
                <a:ext cx="514350" cy="239713"/>
              </a:xfrm>
              <a:custGeom>
                <a:avLst/>
                <a:gdLst>
                  <a:gd name="T0" fmla="*/ 324 w 324"/>
                  <a:gd name="T1" fmla="*/ 0 h 151"/>
                  <a:gd name="T2" fmla="*/ 324 w 324"/>
                  <a:gd name="T3" fmla="*/ 151 h 151"/>
                  <a:gd name="T4" fmla="*/ 308 w 324"/>
                  <a:gd name="T5" fmla="*/ 146 h 151"/>
                  <a:gd name="T6" fmla="*/ 308 w 324"/>
                  <a:gd name="T7" fmla="*/ 16 h 151"/>
                  <a:gd name="T8" fmla="*/ 17 w 324"/>
                  <a:gd name="T9" fmla="*/ 16 h 151"/>
                  <a:gd name="T10" fmla="*/ 17 w 324"/>
                  <a:gd name="T11" fmla="*/ 56 h 151"/>
                  <a:gd name="T12" fmla="*/ 0 w 324"/>
                  <a:gd name="T13" fmla="*/ 49 h 151"/>
                  <a:gd name="T14" fmla="*/ 0 w 324"/>
                  <a:gd name="T15" fmla="*/ 0 h 151"/>
                  <a:gd name="T16" fmla="*/ 324 w 324"/>
                  <a:gd name="T17" fmla="*/ 0 h 1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24" h="151">
                    <a:moveTo>
                      <a:pt x="324" y="0"/>
                    </a:moveTo>
                    <a:lnTo>
                      <a:pt x="324" y="151"/>
                    </a:lnTo>
                    <a:lnTo>
                      <a:pt x="308" y="146"/>
                    </a:lnTo>
                    <a:lnTo>
                      <a:pt x="308" y="16"/>
                    </a:lnTo>
                    <a:lnTo>
                      <a:pt x="17" y="16"/>
                    </a:lnTo>
                    <a:lnTo>
                      <a:pt x="17" y="56"/>
                    </a:lnTo>
                    <a:lnTo>
                      <a:pt x="0" y="49"/>
                    </a:lnTo>
                    <a:lnTo>
                      <a:pt x="0" y="0"/>
                    </a:lnTo>
                    <a:lnTo>
                      <a:pt x="3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2" name="Freeform 25"/>
              <p:cNvSpPr>
                <a:spLocks noEditPoints="1"/>
              </p:cNvSpPr>
              <p:nvPr/>
            </p:nvSpPr>
            <p:spPr bwMode="auto">
              <a:xfrm>
                <a:off x="6243638" y="915988"/>
                <a:ext cx="231775" cy="230188"/>
              </a:xfrm>
              <a:custGeom>
                <a:avLst/>
                <a:gdLst>
                  <a:gd name="T0" fmla="*/ 92 w 92"/>
                  <a:gd name="T1" fmla="*/ 40 h 92"/>
                  <a:gd name="T2" fmla="*/ 92 w 92"/>
                  <a:gd name="T3" fmla="*/ 53 h 92"/>
                  <a:gd name="T4" fmla="*/ 90 w 92"/>
                  <a:gd name="T5" fmla="*/ 55 h 92"/>
                  <a:gd name="T6" fmla="*/ 82 w 92"/>
                  <a:gd name="T7" fmla="*/ 55 h 92"/>
                  <a:gd name="T8" fmla="*/ 78 w 92"/>
                  <a:gd name="T9" fmla="*/ 65 h 92"/>
                  <a:gd name="T10" fmla="*/ 83 w 92"/>
                  <a:gd name="T11" fmla="*/ 71 h 92"/>
                  <a:gd name="T12" fmla="*/ 83 w 92"/>
                  <a:gd name="T13" fmla="*/ 74 h 92"/>
                  <a:gd name="T14" fmla="*/ 74 w 92"/>
                  <a:gd name="T15" fmla="*/ 83 h 92"/>
                  <a:gd name="T16" fmla="*/ 71 w 92"/>
                  <a:gd name="T17" fmla="*/ 83 h 92"/>
                  <a:gd name="T18" fmla="*/ 65 w 92"/>
                  <a:gd name="T19" fmla="*/ 78 h 92"/>
                  <a:gd name="T20" fmla="*/ 55 w 92"/>
                  <a:gd name="T21" fmla="*/ 82 h 92"/>
                  <a:gd name="T22" fmla="*/ 55 w 92"/>
                  <a:gd name="T23" fmla="*/ 90 h 92"/>
                  <a:gd name="T24" fmla="*/ 52 w 92"/>
                  <a:gd name="T25" fmla="*/ 92 h 92"/>
                  <a:gd name="T26" fmla="*/ 39 w 92"/>
                  <a:gd name="T27" fmla="*/ 92 h 92"/>
                  <a:gd name="T28" fmla="*/ 37 w 92"/>
                  <a:gd name="T29" fmla="*/ 90 h 92"/>
                  <a:gd name="T30" fmla="*/ 37 w 92"/>
                  <a:gd name="T31" fmla="*/ 82 h 92"/>
                  <a:gd name="T32" fmla="*/ 26 w 92"/>
                  <a:gd name="T33" fmla="*/ 78 h 92"/>
                  <a:gd name="T34" fmla="*/ 21 w 92"/>
                  <a:gd name="T35" fmla="*/ 83 h 92"/>
                  <a:gd name="T36" fmla="*/ 18 w 92"/>
                  <a:gd name="T37" fmla="*/ 83 h 92"/>
                  <a:gd name="T38" fmla="*/ 9 w 92"/>
                  <a:gd name="T39" fmla="*/ 74 h 92"/>
                  <a:gd name="T40" fmla="*/ 9 w 92"/>
                  <a:gd name="T41" fmla="*/ 71 h 92"/>
                  <a:gd name="T42" fmla="*/ 14 w 92"/>
                  <a:gd name="T43" fmla="*/ 65 h 92"/>
                  <a:gd name="T44" fmla="*/ 10 w 92"/>
                  <a:gd name="T45" fmla="*/ 55 h 92"/>
                  <a:gd name="T46" fmla="*/ 2 w 92"/>
                  <a:gd name="T47" fmla="*/ 55 h 92"/>
                  <a:gd name="T48" fmla="*/ 0 w 92"/>
                  <a:gd name="T49" fmla="*/ 53 h 92"/>
                  <a:gd name="T50" fmla="*/ 0 w 92"/>
                  <a:gd name="T51" fmla="*/ 40 h 92"/>
                  <a:gd name="T52" fmla="*/ 2 w 92"/>
                  <a:gd name="T53" fmla="*/ 37 h 92"/>
                  <a:gd name="T54" fmla="*/ 10 w 92"/>
                  <a:gd name="T55" fmla="*/ 37 h 92"/>
                  <a:gd name="T56" fmla="*/ 14 w 92"/>
                  <a:gd name="T57" fmla="*/ 27 h 92"/>
                  <a:gd name="T58" fmla="*/ 9 w 92"/>
                  <a:gd name="T59" fmla="*/ 21 h 92"/>
                  <a:gd name="T60" fmla="*/ 9 w 92"/>
                  <a:gd name="T61" fmla="*/ 18 h 92"/>
                  <a:gd name="T62" fmla="*/ 18 w 92"/>
                  <a:gd name="T63" fmla="*/ 9 h 92"/>
                  <a:gd name="T64" fmla="*/ 21 w 92"/>
                  <a:gd name="T65" fmla="*/ 9 h 92"/>
                  <a:gd name="T66" fmla="*/ 26 w 92"/>
                  <a:gd name="T67" fmla="*/ 14 h 92"/>
                  <a:gd name="T68" fmla="*/ 37 w 92"/>
                  <a:gd name="T69" fmla="*/ 10 h 92"/>
                  <a:gd name="T70" fmla="*/ 37 w 92"/>
                  <a:gd name="T71" fmla="*/ 2 h 92"/>
                  <a:gd name="T72" fmla="*/ 39 w 92"/>
                  <a:gd name="T73" fmla="*/ 0 h 92"/>
                  <a:gd name="T74" fmla="*/ 52 w 92"/>
                  <a:gd name="T75" fmla="*/ 0 h 92"/>
                  <a:gd name="T76" fmla="*/ 55 w 92"/>
                  <a:gd name="T77" fmla="*/ 2 h 92"/>
                  <a:gd name="T78" fmla="*/ 55 w 92"/>
                  <a:gd name="T79" fmla="*/ 10 h 92"/>
                  <a:gd name="T80" fmla="*/ 65 w 92"/>
                  <a:gd name="T81" fmla="*/ 14 h 92"/>
                  <a:gd name="T82" fmla="*/ 71 w 92"/>
                  <a:gd name="T83" fmla="*/ 9 h 92"/>
                  <a:gd name="T84" fmla="*/ 74 w 92"/>
                  <a:gd name="T85" fmla="*/ 9 h 92"/>
                  <a:gd name="T86" fmla="*/ 83 w 92"/>
                  <a:gd name="T87" fmla="*/ 18 h 92"/>
                  <a:gd name="T88" fmla="*/ 83 w 92"/>
                  <a:gd name="T89" fmla="*/ 21 h 92"/>
                  <a:gd name="T90" fmla="*/ 78 w 92"/>
                  <a:gd name="T91" fmla="*/ 27 h 92"/>
                  <a:gd name="T92" fmla="*/ 82 w 92"/>
                  <a:gd name="T93" fmla="*/ 37 h 92"/>
                  <a:gd name="T94" fmla="*/ 90 w 92"/>
                  <a:gd name="T95" fmla="*/ 37 h 92"/>
                  <a:gd name="T96" fmla="*/ 92 w 92"/>
                  <a:gd name="T97" fmla="*/ 40 h 92"/>
                  <a:gd name="T98" fmla="*/ 67 w 92"/>
                  <a:gd name="T99" fmla="*/ 46 h 92"/>
                  <a:gd name="T100" fmla="*/ 46 w 92"/>
                  <a:gd name="T101" fmla="*/ 25 h 92"/>
                  <a:gd name="T102" fmla="*/ 25 w 92"/>
                  <a:gd name="T103" fmla="*/ 46 h 92"/>
                  <a:gd name="T104" fmla="*/ 46 w 92"/>
                  <a:gd name="T105" fmla="*/ 67 h 92"/>
                  <a:gd name="T106" fmla="*/ 67 w 92"/>
                  <a:gd name="T107" fmla="*/ 4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2" h="92">
                    <a:moveTo>
                      <a:pt x="92" y="40"/>
                    </a:moveTo>
                    <a:cubicBezTo>
                      <a:pt x="92" y="53"/>
                      <a:pt x="92" y="53"/>
                      <a:pt x="92" y="53"/>
                    </a:cubicBezTo>
                    <a:cubicBezTo>
                      <a:pt x="92" y="54"/>
                      <a:pt x="91" y="55"/>
                      <a:pt x="90" y="55"/>
                    </a:cubicBezTo>
                    <a:cubicBezTo>
                      <a:pt x="82" y="55"/>
                      <a:pt x="82" y="55"/>
                      <a:pt x="82" y="55"/>
                    </a:cubicBezTo>
                    <a:cubicBezTo>
                      <a:pt x="81" y="59"/>
                      <a:pt x="80" y="62"/>
                      <a:pt x="78" y="65"/>
                    </a:cubicBezTo>
                    <a:cubicBezTo>
                      <a:pt x="83" y="71"/>
                      <a:pt x="83" y="71"/>
                      <a:pt x="83" y="71"/>
                    </a:cubicBezTo>
                    <a:cubicBezTo>
                      <a:pt x="84" y="72"/>
                      <a:pt x="84" y="73"/>
                      <a:pt x="83" y="74"/>
                    </a:cubicBezTo>
                    <a:cubicBezTo>
                      <a:pt x="74" y="83"/>
                      <a:pt x="74" y="83"/>
                      <a:pt x="74" y="83"/>
                    </a:cubicBezTo>
                    <a:cubicBezTo>
                      <a:pt x="73" y="84"/>
                      <a:pt x="71" y="84"/>
                      <a:pt x="71" y="83"/>
                    </a:cubicBezTo>
                    <a:cubicBezTo>
                      <a:pt x="65" y="78"/>
                      <a:pt x="65" y="78"/>
                      <a:pt x="65" y="78"/>
                    </a:cubicBezTo>
                    <a:cubicBezTo>
                      <a:pt x="62" y="80"/>
                      <a:pt x="58" y="81"/>
                      <a:pt x="55" y="82"/>
                    </a:cubicBezTo>
                    <a:cubicBezTo>
                      <a:pt x="55" y="90"/>
                      <a:pt x="55" y="90"/>
                      <a:pt x="55" y="90"/>
                    </a:cubicBezTo>
                    <a:cubicBezTo>
                      <a:pt x="55" y="91"/>
                      <a:pt x="54" y="92"/>
                      <a:pt x="52" y="92"/>
                    </a:cubicBezTo>
                    <a:cubicBezTo>
                      <a:pt x="39" y="92"/>
                      <a:pt x="39" y="92"/>
                      <a:pt x="39" y="92"/>
                    </a:cubicBezTo>
                    <a:cubicBezTo>
                      <a:pt x="38" y="92"/>
                      <a:pt x="37" y="91"/>
                      <a:pt x="37" y="90"/>
                    </a:cubicBezTo>
                    <a:cubicBezTo>
                      <a:pt x="37" y="82"/>
                      <a:pt x="37" y="82"/>
                      <a:pt x="37" y="82"/>
                    </a:cubicBezTo>
                    <a:cubicBezTo>
                      <a:pt x="33" y="81"/>
                      <a:pt x="30" y="80"/>
                      <a:pt x="26" y="78"/>
                    </a:cubicBezTo>
                    <a:cubicBezTo>
                      <a:pt x="21" y="83"/>
                      <a:pt x="21" y="83"/>
                      <a:pt x="21" y="83"/>
                    </a:cubicBezTo>
                    <a:cubicBezTo>
                      <a:pt x="20" y="84"/>
                      <a:pt x="19" y="84"/>
                      <a:pt x="18" y="83"/>
                    </a:cubicBezTo>
                    <a:cubicBezTo>
                      <a:pt x="9" y="74"/>
                      <a:pt x="9" y="74"/>
                      <a:pt x="9" y="74"/>
                    </a:cubicBezTo>
                    <a:cubicBezTo>
                      <a:pt x="8" y="73"/>
                      <a:pt x="8" y="72"/>
                      <a:pt x="9" y="71"/>
                    </a:cubicBezTo>
                    <a:cubicBezTo>
                      <a:pt x="14" y="65"/>
                      <a:pt x="14" y="65"/>
                      <a:pt x="14" y="65"/>
                    </a:cubicBezTo>
                    <a:cubicBezTo>
                      <a:pt x="12" y="62"/>
                      <a:pt x="11" y="59"/>
                      <a:pt x="10" y="55"/>
                    </a:cubicBezTo>
                    <a:cubicBezTo>
                      <a:pt x="2" y="55"/>
                      <a:pt x="2" y="55"/>
                      <a:pt x="2" y="55"/>
                    </a:cubicBezTo>
                    <a:cubicBezTo>
                      <a:pt x="1" y="55"/>
                      <a:pt x="0" y="54"/>
                      <a:pt x="0" y="53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7"/>
                      <a:pt x="2" y="37"/>
                    </a:cubicBezTo>
                    <a:cubicBezTo>
                      <a:pt x="10" y="37"/>
                      <a:pt x="10" y="37"/>
                      <a:pt x="10" y="37"/>
                    </a:cubicBezTo>
                    <a:cubicBezTo>
                      <a:pt x="11" y="33"/>
                      <a:pt x="12" y="30"/>
                      <a:pt x="14" y="27"/>
                    </a:cubicBezTo>
                    <a:cubicBezTo>
                      <a:pt x="9" y="21"/>
                      <a:pt x="9" y="21"/>
                      <a:pt x="9" y="21"/>
                    </a:cubicBezTo>
                    <a:cubicBezTo>
                      <a:pt x="8" y="20"/>
                      <a:pt x="8" y="19"/>
                      <a:pt x="9" y="18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9" y="8"/>
                      <a:pt x="20" y="8"/>
                      <a:pt x="21" y="9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30" y="12"/>
                      <a:pt x="33" y="11"/>
                      <a:pt x="37" y="10"/>
                    </a:cubicBezTo>
                    <a:cubicBezTo>
                      <a:pt x="37" y="2"/>
                      <a:pt x="37" y="2"/>
                      <a:pt x="37" y="2"/>
                    </a:cubicBezTo>
                    <a:cubicBezTo>
                      <a:pt x="37" y="1"/>
                      <a:pt x="38" y="0"/>
                      <a:pt x="39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4" y="0"/>
                      <a:pt x="55" y="1"/>
                      <a:pt x="55" y="2"/>
                    </a:cubicBezTo>
                    <a:cubicBezTo>
                      <a:pt x="55" y="10"/>
                      <a:pt x="55" y="10"/>
                      <a:pt x="55" y="10"/>
                    </a:cubicBezTo>
                    <a:cubicBezTo>
                      <a:pt x="58" y="11"/>
                      <a:pt x="62" y="12"/>
                      <a:pt x="65" y="14"/>
                    </a:cubicBezTo>
                    <a:cubicBezTo>
                      <a:pt x="71" y="9"/>
                      <a:pt x="71" y="9"/>
                      <a:pt x="71" y="9"/>
                    </a:cubicBezTo>
                    <a:cubicBezTo>
                      <a:pt x="71" y="8"/>
                      <a:pt x="73" y="8"/>
                      <a:pt x="74" y="9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4" y="19"/>
                      <a:pt x="84" y="20"/>
                      <a:pt x="83" y="21"/>
                    </a:cubicBezTo>
                    <a:cubicBezTo>
                      <a:pt x="78" y="27"/>
                      <a:pt x="78" y="27"/>
                      <a:pt x="78" y="27"/>
                    </a:cubicBezTo>
                    <a:cubicBezTo>
                      <a:pt x="80" y="30"/>
                      <a:pt x="81" y="33"/>
                      <a:pt x="82" y="37"/>
                    </a:cubicBezTo>
                    <a:cubicBezTo>
                      <a:pt x="90" y="37"/>
                      <a:pt x="90" y="37"/>
                      <a:pt x="90" y="37"/>
                    </a:cubicBezTo>
                    <a:cubicBezTo>
                      <a:pt x="91" y="37"/>
                      <a:pt x="92" y="38"/>
                      <a:pt x="92" y="40"/>
                    </a:cubicBezTo>
                    <a:close/>
                    <a:moveTo>
                      <a:pt x="67" y="46"/>
                    </a:moveTo>
                    <a:cubicBezTo>
                      <a:pt x="67" y="35"/>
                      <a:pt x="57" y="25"/>
                      <a:pt x="46" y="25"/>
                    </a:cubicBezTo>
                    <a:cubicBezTo>
                      <a:pt x="34" y="25"/>
                      <a:pt x="25" y="35"/>
                      <a:pt x="25" y="46"/>
                    </a:cubicBezTo>
                    <a:cubicBezTo>
                      <a:pt x="25" y="58"/>
                      <a:pt x="34" y="67"/>
                      <a:pt x="46" y="67"/>
                    </a:cubicBezTo>
                    <a:cubicBezTo>
                      <a:pt x="57" y="67"/>
                      <a:pt x="67" y="58"/>
                      <a:pt x="67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3" name="Rectangle 26"/>
              <p:cNvSpPr>
                <a:spLocks noChangeArrowheads="1"/>
              </p:cNvSpPr>
              <p:nvPr/>
            </p:nvSpPr>
            <p:spPr bwMode="auto">
              <a:xfrm>
                <a:off x="6330950" y="860426"/>
                <a:ext cx="131763" cy="2222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4" name="Rectangle 27"/>
              <p:cNvSpPr>
                <a:spLocks noChangeArrowheads="1"/>
              </p:cNvSpPr>
              <p:nvPr/>
            </p:nvSpPr>
            <p:spPr bwMode="auto">
              <a:xfrm>
                <a:off x="6270625" y="817563"/>
                <a:ext cx="192088" cy="238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6" name="Freeform 29"/>
              <p:cNvSpPr>
                <a:spLocks noEditPoints="1"/>
              </p:cNvSpPr>
              <p:nvPr/>
            </p:nvSpPr>
            <p:spPr bwMode="auto">
              <a:xfrm>
                <a:off x="5934075" y="822326"/>
                <a:ext cx="312738" cy="311150"/>
              </a:xfrm>
              <a:custGeom>
                <a:avLst/>
                <a:gdLst>
                  <a:gd name="T0" fmla="*/ 124 w 124"/>
                  <a:gd name="T1" fmla="*/ 53 h 124"/>
                  <a:gd name="T2" fmla="*/ 124 w 124"/>
                  <a:gd name="T3" fmla="*/ 71 h 124"/>
                  <a:gd name="T4" fmla="*/ 121 w 124"/>
                  <a:gd name="T5" fmla="*/ 74 h 124"/>
                  <a:gd name="T6" fmla="*/ 111 w 124"/>
                  <a:gd name="T7" fmla="*/ 74 h 124"/>
                  <a:gd name="T8" fmla="*/ 105 w 124"/>
                  <a:gd name="T9" fmla="*/ 88 h 124"/>
                  <a:gd name="T10" fmla="*/ 112 w 124"/>
                  <a:gd name="T11" fmla="*/ 96 h 124"/>
                  <a:gd name="T12" fmla="*/ 112 w 124"/>
                  <a:gd name="T13" fmla="*/ 100 h 124"/>
                  <a:gd name="T14" fmla="*/ 100 w 124"/>
                  <a:gd name="T15" fmla="*/ 112 h 124"/>
                  <a:gd name="T16" fmla="*/ 96 w 124"/>
                  <a:gd name="T17" fmla="*/ 112 h 124"/>
                  <a:gd name="T18" fmla="*/ 88 w 124"/>
                  <a:gd name="T19" fmla="*/ 105 h 124"/>
                  <a:gd name="T20" fmla="*/ 74 w 124"/>
                  <a:gd name="T21" fmla="*/ 111 h 124"/>
                  <a:gd name="T22" fmla="*/ 74 w 124"/>
                  <a:gd name="T23" fmla="*/ 121 h 124"/>
                  <a:gd name="T24" fmla="*/ 71 w 124"/>
                  <a:gd name="T25" fmla="*/ 124 h 124"/>
                  <a:gd name="T26" fmla="*/ 53 w 124"/>
                  <a:gd name="T27" fmla="*/ 124 h 124"/>
                  <a:gd name="T28" fmla="*/ 51 w 124"/>
                  <a:gd name="T29" fmla="*/ 121 h 124"/>
                  <a:gd name="T30" fmla="*/ 51 w 124"/>
                  <a:gd name="T31" fmla="*/ 111 h 124"/>
                  <a:gd name="T32" fmla="*/ 36 w 124"/>
                  <a:gd name="T33" fmla="*/ 105 h 124"/>
                  <a:gd name="T34" fmla="*/ 29 w 124"/>
                  <a:gd name="T35" fmla="*/ 112 h 124"/>
                  <a:gd name="T36" fmla="*/ 25 w 124"/>
                  <a:gd name="T37" fmla="*/ 112 h 124"/>
                  <a:gd name="T38" fmla="*/ 12 w 124"/>
                  <a:gd name="T39" fmla="*/ 100 h 124"/>
                  <a:gd name="T40" fmla="*/ 12 w 124"/>
                  <a:gd name="T41" fmla="*/ 96 h 124"/>
                  <a:gd name="T42" fmla="*/ 19 w 124"/>
                  <a:gd name="T43" fmla="*/ 88 h 124"/>
                  <a:gd name="T44" fmla="*/ 13 w 124"/>
                  <a:gd name="T45" fmla="*/ 74 h 124"/>
                  <a:gd name="T46" fmla="*/ 3 w 124"/>
                  <a:gd name="T47" fmla="*/ 74 h 124"/>
                  <a:gd name="T48" fmla="*/ 0 w 124"/>
                  <a:gd name="T49" fmla="*/ 71 h 124"/>
                  <a:gd name="T50" fmla="*/ 0 w 124"/>
                  <a:gd name="T51" fmla="*/ 53 h 124"/>
                  <a:gd name="T52" fmla="*/ 3 w 124"/>
                  <a:gd name="T53" fmla="*/ 50 h 124"/>
                  <a:gd name="T54" fmla="*/ 13 w 124"/>
                  <a:gd name="T55" fmla="*/ 50 h 124"/>
                  <a:gd name="T56" fmla="*/ 19 w 124"/>
                  <a:gd name="T57" fmla="*/ 36 h 124"/>
                  <a:gd name="T58" fmla="*/ 12 w 124"/>
                  <a:gd name="T59" fmla="*/ 29 h 124"/>
                  <a:gd name="T60" fmla="*/ 12 w 124"/>
                  <a:gd name="T61" fmla="*/ 25 h 124"/>
                  <a:gd name="T62" fmla="*/ 25 w 124"/>
                  <a:gd name="T63" fmla="*/ 12 h 124"/>
                  <a:gd name="T64" fmla="*/ 29 w 124"/>
                  <a:gd name="T65" fmla="*/ 12 h 124"/>
                  <a:gd name="T66" fmla="*/ 36 w 124"/>
                  <a:gd name="T67" fmla="*/ 19 h 124"/>
                  <a:gd name="T68" fmla="*/ 51 w 124"/>
                  <a:gd name="T69" fmla="*/ 13 h 124"/>
                  <a:gd name="T70" fmla="*/ 51 w 124"/>
                  <a:gd name="T71" fmla="*/ 3 h 124"/>
                  <a:gd name="T72" fmla="*/ 53 w 124"/>
                  <a:gd name="T73" fmla="*/ 0 h 124"/>
                  <a:gd name="T74" fmla="*/ 71 w 124"/>
                  <a:gd name="T75" fmla="*/ 0 h 124"/>
                  <a:gd name="T76" fmla="*/ 74 w 124"/>
                  <a:gd name="T77" fmla="*/ 3 h 124"/>
                  <a:gd name="T78" fmla="*/ 74 w 124"/>
                  <a:gd name="T79" fmla="*/ 13 h 124"/>
                  <a:gd name="T80" fmla="*/ 88 w 124"/>
                  <a:gd name="T81" fmla="*/ 19 h 124"/>
                  <a:gd name="T82" fmla="*/ 96 w 124"/>
                  <a:gd name="T83" fmla="*/ 12 h 124"/>
                  <a:gd name="T84" fmla="*/ 100 w 124"/>
                  <a:gd name="T85" fmla="*/ 12 h 124"/>
                  <a:gd name="T86" fmla="*/ 112 w 124"/>
                  <a:gd name="T87" fmla="*/ 25 h 124"/>
                  <a:gd name="T88" fmla="*/ 112 w 124"/>
                  <a:gd name="T89" fmla="*/ 29 h 124"/>
                  <a:gd name="T90" fmla="*/ 105 w 124"/>
                  <a:gd name="T91" fmla="*/ 36 h 124"/>
                  <a:gd name="T92" fmla="*/ 111 w 124"/>
                  <a:gd name="T93" fmla="*/ 50 h 124"/>
                  <a:gd name="T94" fmla="*/ 121 w 124"/>
                  <a:gd name="T95" fmla="*/ 50 h 124"/>
                  <a:gd name="T96" fmla="*/ 124 w 124"/>
                  <a:gd name="T97" fmla="*/ 53 h 124"/>
                  <a:gd name="T98" fmla="*/ 90 w 124"/>
                  <a:gd name="T99" fmla="*/ 62 h 124"/>
                  <a:gd name="T100" fmla="*/ 62 w 124"/>
                  <a:gd name="T101" fmla="*/ 34 h 124"/>
                  <a:gd name="T102" fmla="*/ 34 w 124"/>
                  <a:gd name="T103" fmla="*/ 62 h 124"/>
                  <a:gd name="T104" fmla="*/ 62 w 124"/>
                  <a:gd name="T105" fmla="*/ 90 h 124"/>
                  <a:gd name="T106" fmla="*/ 90 w 124"/>
                  <a:gd name="T107" fmla="*/ 6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24" h="124">
                    <a:moveTo>
                      <a:pt x="124" y="53"/>
                    </a:moveTo>
                    <a:cubicBezTo>
                      <a:pt x="124" y="71"/>
                      <a:pt x="124" y="71"/>
                      <a:pt x="124" y="71"/>
                    </a:cubicBezTo>
                    <a:cubicBezTo>
                      <a:pt x="124" y="73"/>
                      <a:pt x="123" y="74"/>
                      <a:pt x="121" y="74"/>
                    </a:cubicBezTo>
                    <a:cubicBezTo>
                      <a:pt x="111" y="74"/>
                      <a:pt x="111" y="74"/>
                      <a:pt x="111" y="74"/>
                    </a:cubicBezTo>
                    <a:cubicBezTo>
                      <a:pt x="110" y="79"/>
                      <a:pt x="108" y="84"/>
                      <a:pt x="105" y="88"/>
                    </a:cubicBezTo>
                    <a:cubicBezTo>
                      <a:pt x="112" y="96"/>
                      <a:pt x="112" y="96"/>
                      <a:pt x="112" y="96"/>
                    </a:cubicBezTo>
                    <a:cubicBezTo>
                      <a:pt x="113" y="97"/>
                      <a:pt x="113" y="99"/>
                      <a:pt x="112" y="100"/>
                    </a:cubicBezTo>
                    <a:cubicBezTo>
                      <a:pt x="100" y="112"/>
                      <a:pt x="100" y="112"/>
                      <a:pt x="100" y="112"/>
                    </a:cubicBezTo>
                    <a:cubicBezTo>
                      <a:pt x="99" y="113"/>
                      <a:pt x="97" y="113"/>
                      <a:pt x="96" y="112"/>
                    </a:cubicBezTo>
                    <a:cubicBezTo>
                      <a:pt x="88" y="105"/>
                      <a:pt x="88" y="105"/>
                      <a:pt x="88" y="105"/>
                    </a:cubicBezTo>
                    <a:cubicBezTo>
                      <a:pt x="84" y="108"/>
                      <a:pt x="79" y="110"/>
                      <a:pt x="74" y="111"/>
                    </a:cubicBezTo>
                    <a:cubicBezTo>
                      <a:pt x="74" y="121"/>
                      <a:pt x="74" y="121"/>
                      <a:pt x="74" y="121"/>
                    </a:cubicBezTo>
                    <a:cubicBezTo>
                      <a:pt x="74" y="123"/>
                      <a:pt x="73" y="124"/>
                      <a:pt x="71" y="124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2" y="124"/>
                      <a:pt x="51" y="123"/>
                      <a:pt x="51" y="121"/>
                    </a:cubicBezTo>
                    <a:cubicBezTo>
                      <a:pt x="51" y="111"/>
                      <a:pt x="51" y="111"/>
                      <a:pt x="51" y="111"/>
                    </a:cubicBezTo>
                    <a:cubicBezTo>
                      <a:pt x="45" y="110"/>
                      <a:pt x="40" y="108"/>
                      <a:pt x="36" y="105"/>
                    </a:cubicBezTo>
                    <a:cubicBezTo>
                      <a:pt x="29" y="112"/>
                      <a:pt x="29" y="112"/>
                      <a:pt x="29" y="112"/>
                    </a:cubicBezTo>
                    <a:cubicBezTo>
                      <a:pt x="28" y="113"/>
                      <a:pt x="26" y="113"/>
                      <a:pt x="25" y="112"/>
                    </a:cubicBezTo>
                    <a:cubicBezTo>
                      <a:pt x="12" y="100"/>
                      <a:pt x="12" y="100"/>
                      <a:pt x="12" y="100"/>
                    </a:cubicBezTo>
                    <a:cubicBezTo>
                      <a:pt x="11" y="99"/>
                      <a:pt x="11" y="97"/>
                      <a:pt x="12" y="96"/>
                    </a:cubicBezTo>
                    <a:cubicBezTo>
                      <a:pt x="19" y="88"/>
                      <a:pt x="19" y="88"/>
                      <a:pt x="19" y="88"/>
                    </a:cubicBezTo>
                    <a:cubicBezTo>
                      <a:pt x="17" y="84"/>
                      <a:pt x="15" y="79"/>
                      <a:pt x="13" y="74"/>
                    </a:cubicBezTo>
                    <a:cubicBezTo>
                      <a:pt x="3" y="74"/>
                      <a:pt x="3" y="74"/>
                      <a:pt x="3" y="74"/>
                    </a:cubicBezTo>
                    <a:cubicBezTo>
                      <a:pt x="2" y="74"/>
                      <a:pt x="0" y="73"/>
                      <a:pt x="0" y="71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0" y="52"/>
                      <a:pt x="2" y="50"/>
                      <a:pt x="3" y="50"/>
                    </a:cubicBezTo>
                    <a:cubicBezTo>
                      <a:pt x="13" y="50"/>
                      <a:pt x="13" y="50"/>
                      <a:pt x="13" y="50"/>
                    </a:cubicBezTo>
                    <a:cubicBezTo>
                      <a:pt x="15" y="45"/>
                      <a:pt x="17" y="40"/>
                      <a:pt x="19" y="36"/>
                    </a:cubicBezTo>
                    <a:cubicBezTo>
                      <a:pt x="12" y="29"/>
                      <a:pt x="12" y="29"/>
                      <a:pt x="12" y="29"/>
                    </a:cubicBezTo>
                    <a:cubicBezTo>
                      <a:pt x="11" y="28"/>
                      <a:pt x="11" y="26"/>
                      <a:pt x="12" y="25"/>
                    </a:cubicBezTo>
                    <a:cubicBezTo>
                      <a:pt x="25" y="12"/>
                      <a:pt x="25" y="12"/>
                      <a:pt x="25" y="12"/>
                    </a:cubicBezTo>
                    <a:cubicBezTo>
                      <a:pt x="26" y="11"/>
                      <a:pt x="28" y="11"/>
                      <a:pt x="29" y="12"/>
                    </a:cubicBezTo>
                    <a:cubicBezTo>
                      <a:pt x="36" y="19"/>
                      <a:pt x="36" y="19"/>
                      <a:pt x="36" y="19"/>
                    </a:cubicBezTo>
                    <a:cubicBezTo>
                      <a:pt x="40" y="17"/>
                      <a:pt x="45" y="15"/>
                      <a:pt x="51" y="13"/>
                    </a:cubicBezTo>
                    <a:cubicBezTo>
                      <a:pt x="51" y="3"/>
                      <a:pt x="51" y="3"/>
                      <a:pt x="51" y="3"/>
                    </a:cubicBezTo>
                    <a:cubicBezTo>
                      <a:pt x="51" y="2"/>
                      <a:pt x="52" y="0"/>
                      <a:pt x="53" y="0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73" y="0"/>
                      <a:pt x="74" y="2"/>
                      <a:pt x="74" y="3"/>
                    </a:cubicBezTo>
                    <a:cubicBezTo>
                      <a:pt x="74" y="13"/>
                      <a:pt x="74" y="13"/>
                      <a:pt x="74" y="13"/>
                    </a:cubicBezTo>
                    <a:cubicBezTo>
                      <a:pt x="79" y="15"/>
                      <a:pt x="84" y="17"/>
                      <a:pt x="88" y="19"/>
                    </a:cubicBezTo>
                    <a:cubicBezTo>
                      <a:pt x="96" y="12"/>
                      <a:pt x="96" y="12"/>
                      <a:pt x="96" y="12"/>
                    </a:cubicBezTo>
                    <a:cubicBezTo>
                      <a:pt x="97" y="11"/>
                      <a:pt x="99" y="11"/>
                      <a:pt x="100" y="12"/>
                    </a:cubicBezTo>
                    <a:cubicBezTo>
                      <a:pt x="112" y="25"/>
                      <a:pt x="112" y="25"/>
                      <a:pt x="112" y="25"/>
                    </a:cubicBezTo>
                    <a:cubicBezTo>
                      <a:pt x="113" y="26"/>
                      <a:pt x="113" y="28"/>
                      <a:pt x="112" y="29"/>
                    </a:cubicBezTo>
                    <a:cubicBezTo>
                      <a:pt x="105" y="36"/>
                      <a:pt x="105" y="36"/>
                      <a:pt x="105" y="36"/>
                    </a:cubicBezTo>
                    <a:cubicBezTo>
                      <a:pt x="108" y="40"/>
                      <a:pt x="110" y="45"/>
                      <a:pt x="111" y="50"/>
                    </a:cubicBezTo>
                    <a:cubicBezTo>
                      <a:pt x="121" y="50"/>
                      <a:pt x="121" y="50"/>
                      <a:pt x="121" y="50"/>
                    </a:cubicBezTo>
                    <a:cubicBezTo>
                      <a:pt x="123" y="50"/>
                      <a:pt x="124" y="52"/>
                      <a:pt x="124" y="53"/>
                    </a:cubicBezTo>
                    <a:close/>
                    <a:moveTo>
                      <a:pt x="90" y="62"/>
                    </a:moveTo>
                    <a:cubicBezTo>
                      <a:pt x="90" y="47"/>
                      <a:pt x="78" y="34"/>
                      <a:pt x="62" y="34"/>
                    </a:cubicBezTo>
                    <a:cubicBezTo>
                      <a:pt x="47" y="34"/>
                      <a:pt x="34" y="47"/>
                      <a:pt x="34" y="62"/>
                    </a:cubicBezTo>
                    <a:cubicBezTo>
                      <a:pt x="34" y="78"/>
                      <a:pt x="47" y="90"/>
                      <a:pt x="62" y="90"/>
                    </a:cubicBezTo>
                    <a:cubicBezTo>
                      <a:pt x="78" y="90"/>
                      <a:pt x="90" y="78"/>
                      <a:pt x="90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00206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77116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 bwMode="auto">
          <a:xfrm>
            <a:off x="1234130" y="234864"/>
            <a:ext cx="6595585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397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468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644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2994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69501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6006" algn="l" defTabSz="89397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>
                <a:solidFill>
                  <a:srgbClr val="000000"/>
                </a:solidFill>
              </a:rPr>
              <a:t> Delivery System Reform Incentive Payment </a:t>
            </a:r>
          </a:p>
          <a:p>
            <a:endParaRPr lang="en-US" sz="2800" kern="0" dirty="0">
              <a:solidFill>
                <a:srgbClr val="000000"/>
              </a:solidFill>
            </a:endParaRPr>
          </a:p>
        </p:txBody>
      </p:sp>
      <p:sp>
        <p:nvSpPr>
          <p:cNvPr id="11" name="Rectangle 8"/>
          <p:cNvSpPr txBox="1"/>
          <p:nvPr/>
        </p:nvSpPr>
        <p:spPr>
          <a:xfrm>
            <a:off x="4800600" y="2112478"/>
            <a:ext cx="3428998" cy="566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ACOs include range of providers (e.g., CHCs)</a:t>
            </a:r>
          </a:p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Supports ACO investment in primary care providers, infrastructure and capacity building</a:t>
            </a:r>
          </a:p>
        </p:txBody>
      </p:sp>
      <p:sp>
        <p:nvSpPr>
          <p:cNvPr id="12" name="Rectangle 8"/>
          <p:cNvSpPr txBox="1"/>
          <p:nvPr/>
        </p:nvSpPr>
        <p:spPr>
          <a:xfrm>
            <a:off x="4870654" y="2953496"/>
            <a:ext cx="3428999" cy="1305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Behavioral Health (BH) and Long Term Services and Supports (LTSS) Community Partners (CPs) and Community Service Agencies (CSAs)</a:t>
            </a:r>
          </a:p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Supports BH and LTSS care coordination and CP and CSA infrastructure and capacity building</a:t>
            </a:r>
          </a:p>
        </p:txBody>
      </p:sp>
      <p:sp>
        <p:nvSpPr>
          <p:cNvPr id="13" name="Rectangle 8"/>
          <p:cNvSpPr txBox="1"/>
          <p:nvPr/>
        </p:nvSpPr>
        <p:spPr>
          <a:xfrm>
            <a:off x="4830097" y="4460157"/>
            <a:ext cx="342899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Examples include </a:t>
            </a:r>
            <a:r>
              <a:rPr lang="en-US" sz="1200" b="1" dirty="0">
                <a:solidFill>
                  <a:srgbClr val="000000"/>
                </a:solidFill>
              </a:rPr>
              <a:t>primary care, workforce, development and training</a:t>
            </a:r>
            <a:r>
              <a:rPr lang="en-US" sz="1200" dirty="0">
                <a:solidFill>
                  <a:srgbClr val="000000"/>
                </a:solidFill>
              </a:rPr>
              <a:t>, and </a:t>
            </a:r>
            <a:r>
              <a:rPr lang="en-US" sz="1200" b="1" dirty="0">
                <a:solidFill>
                  <a:srgbClr val="000000"/>
                </a:solidFill>
              </a:rPr>
              <a:t>technical assistance to ACOs and CPs</a:t>
            </a:r>
          </a:p>
        </p:txBody>
      </p:sp>
      <p:sp>
        <p:nvSpPr>
          <p:cNvPr id="14" name="Rectangle 13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85800" y="762001"/>
            <a:ext cx="7315200" cy="11592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73583" indent="-173583" fontAlgn="base">
              <a:spcBef>
                <a:spcPct val="0"/>
              </a:spcBef>
              <a:spcAft>
                <a:spcPts val="408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0000"/>
                </a:solidFill>
              </a:rPr>
              <a:t>DSRIP totals $1.8B over five years and supports four main funding streams </a:t>
            </a:r>
          </a:p>
          <a:p>
            <a:pPr marL="173583" indent="-173583" fontAlgn="base">
              <a:spcBef>
                <a:spcPct val="0"/>
              </a:spcBef>
              <a:spcAft>
                <a:spcPts val="408"/>
              </a:spcAft>
              <a:buClr>
                <a:srgbClr val="002960"/>
              </a:buClr>
              <a:buFont typeface="Arial" panose="020B0604020202020204" pitchFamily="34" charset="0"/>
              <a:buChar char="•"/>
            </a:pPr>
            <a:r>
              <a:rPr lang="en-US" altLang="ko-KR" sz="1800" b="1" dirty="0">
                <a:solidFill>
                  <a:srgbClr val="000000"/>
                </a:solidFill>
                <a:ea typeface="Gulim" pitchFamily="34" charset="-127"/>
              </a:rPr>
              <a:t>Eligibility for receiving DSRIP funding</a:t>
            </a:r>
            <a:r>
              <a:rPr lang="en-US" altLang="ko-KR" sz="1800" dirty="0">
                <a:solidFill>
                  <a:srgbClr val="000000"/>
                </a:solidFill>
                <a:ea typeface="Gulim" pitchFamily="34" charset="-127"/>
              </a:rPr>
              <a:t> will be linked explicitly to </a:t>
            </a:r>
            <a:r>
              <a:rPr lang="en-US" altLang="ko-KR" sz="1800" b="1" dirty="0">
                <a:solidFill>
                  <a:srgbClr val="000000"/>
                </a:solidFill>
                <a:ea typeface="Gulim" pitchFamily="34" charset="-127"/>
              </a:rPr>
              <a:t>participation in MassHealth payment reform efforts</a:t>
            </a:r>
          </a:p>
        </p:txBody>
      </p:sp>
      <p:sp>
        <p:nvSpPr>
          <p:cNvPr id="15" name="Rectangle 8"/>
          <p:cNvSpPr txBox="1"/>
          <p:nvPr/>
        </p:nvSpPr>
        <p:spPr>
          <a:xfrm>
            <a:off x="4843615" y="5471395"/>
            <a:ext cx="350519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10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0000"/>
                </a:solidFill>
              </a:rPr>
              <a:t>Small amount of funding will be used for </a:t>
            </a:r>
            <a:r>
              <a:rPr lang="en-US" sz="1200" b="1" dirty="0">
                <a:solidFill>
                  <a:srgbClr val="000000"/>
                </a:solidFill>
              </a:rPr>
              <a:t>DSRIP operations and implementation</a:t>
            </a:r>
            <a:r>
              <a:rPr lang="en-US" sz="1200" dirty="0">
                <a:solidFill>
                  <a:srgbClr val="000000"/>
                </a:solidFill>
              </a:rPr>
              <a:t>, including </a:t>
            </a:r>
            <a:r>
              <a:rPr lang="en-US" sz="1200" b="1" dirty="0">
                <a:solidFill>
                  <a:srgbClr val="000000"/>
                </a:solidFill>
              </a:rPr>
              <a:t>robust oversight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1371600" y="2057400"/>
            <a:ext cx="3352799" cy="4079614"/>
            <a:chOff x="1647825" y="1498226"/>
            <a:chExt cx="4080677" cy="4079614"/>
          </a:xfrm>
        </p:grpSpPr>
        <p:sp>
          <p:nvSpPr>
            <p:cNvPr id="33" name="TextBox 9"/>
            <p:cNvSpPr txBox="1"/>
            <p:nvPr>
              <p:custDataLst>
                <p:tags r:id="rId2"/>
              </p:custDataLst>
            </p:nvPr>
          </p:nvSpPr>
          <p:spPr>
            <a:xfrm>
              <a:off x="1647825" y="3157033"/>
              <a:ext cx="1756586" cy="762000"/>
            </a:xfrm>
            <a:prstGeom prst="rect">
              <a:avLst/>
            </a:prstGeom>
            <a:solidFill>
              <a:srgbClr val="C7E0FB"/>
            </a:solidFill>
            <a:ln w="317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74409" tIns="74409" rIns="74409" bIns="7440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0000"/>
                </a:buClr>
                <a:defRPr/>
              </a:pPr>
              <a:r>
                <a:rPr lang="en-US" sz="1400" b="1" kern="0" dirty="0">
                  <a:solidFill>
                    <a:srgbClr val="000000"/>
                  </a:solidFill>
                  <a:ea typeface="ＭＳ Ｐゴシック"/>
                </a:rPr>
                <a:t>DSRIP Investment</a:t>
              </a:r>
            </a:p>
          </p:txBody>
        </p:sp>
        <p:cxnSp>
          <p:nvCxnSpPr>
            <p:cNvPr id="34" name="Elbow Connector 33"/>
            <p:cNvCxnSpPr>
              <a:stCxn id="33" idx="3"/>
              <a:endCxn id="40" idx="1"/>
            </p:cNvCxnSpPr>
            <p:nvPr/>
          </p:nvCxnSpPr>
          <p:spPr>
            <a:xfrm flipV="1">
              <a:off x="3404411" y="1886846"/>
              <a:ext cx="543237" cy="1651187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35" name="Elbow Connector 34"/>
            <p:cNvCxnSpPr>
              <a:stCxn id="33" idx="3"/>
              <a:endCxn id="41" idx="1"/>
            </p:cNvCxnSpPr>
            <p:nvPr/>
          </p:nvCxnSpPr>
          <p:spPr>
            <a:xfrm flipV="1">
              <a:off x="3404411" y="2987637"/>
              <a:ext cx="543237" cy="550396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36" name="Elbow Connector 35"/>
            <p:cNvCxnSpPr>
              <a:stCxn id="33" idx="3"/>
              <a:endCxn id="42" idx="1"/>
            </p:cNvCxnSpPr>
            <p:nvPr/>
          </p:nvCxnSpPr>
          <p:spPr>
            <a:xfrm>
              <a:off x="3404411" y="3538033"/>
              <a:ext cx="543237" cy="550395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  <p:grpSp>
          <p:nvGrpSpPr>
            <p:cNvPr id="38" name="Group 37"/>
            <p:cNvGrpSpPr/>
            <p:nvPr/>
          </p:nvGrpSpPr>
          <p:grpSpPr>
            <a:xfrm>
              <a:off x="3947648" y="1498226"/>
              <a:ext cx="1780854" cy="4079614"/>
              <a:chOff x="3947648" y="1498226"/>
              <a:chExt cx="1780854" cy="4079614"/>
            </a:xfrm>
          </p:grpSpPr>
          <p:sp>
            <p:nvSpPr>
              <p:cNvPr id="40" name="TextBox 39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3947648" y="1498226"/>
                <a:ext cx="1780854" cy="777240"/>
              </a:xfrm>
              <a:prstGeom prst="rect">
                <a:avLst/>
              </a:prstGeom>
              <a:solidFill>
                <a:srgbClr val="C7E0FB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74409" tIns="74409" rIns="74409" bIns="744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ＭＳ Ｐゴシック"/>
                  </a:rPr>
                  <a:t>ACO (60%)</a:t>
                </a:r>
              </a:p>
            </p:txBody>
          </p:sp>
          <p:sp>
            <p:nvSpPr>
              <p:cNvPr id="41" name="TextBox 40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3947648" y="2599017"/>
                <a:ext cx="1780854" cy="777240"/>
              </a:xfrm>
              <a:prstGeom prst="rect">
                <a:avLst/>
              </a:prstGeom>
              <a:solidFill>
                <a:srgbClr val="C7E0FB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74409" tIns="74409" rIns="74409" bIns="744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ＭＳ Ｐゴシック"/>
                  </a:rPr>
                  <a:t>Community Partners (30%) </a:t>
                </a:r>
              </a:p>
            </p:txBody>
          </p:sp>
          <p:sp>
            <p:nvSpPr>
              <p:cNvPr id="42" name="TextBox 41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3947648" y="3699808"/>
                <a:ext cx="1780854" cy="777240"/>
              </a:xfrm>
              <a:prstGeom prst="rect">
                <a:avLst/>
              </a:prstGeom>
              <a:solidFill>
                <a:srgbClr val="C7E0FB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74409" tIns="74409" rIns="74409" bIns="744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ＭＳ Ｐゴシック"/>
                  </a:rPr>
                  <a:t>Statewide Investments (6%)</a:t>
                </a:r>
              </a:p>
            </p:txBody>
          </p:sp>
          <p:sp>
            <p:nvSpPr>
              <p:cNvPr id="43" name="TextBox 42"/>
              <p:cNvSpPr txBox="1"/>
              <p:nvPr>
                <p:custDataLst>
                  <p:tags r:id="rId6"/>
                </p:custDataLst>
              </p:nvPr>
            </p:nvSpPr>
            <p:spPr>
              <a:xfrm>
                <a:off x="3947648" y="4800600"/>
                <a:ext cx="1780854" cy="777240"/>
              </a:xfrm>
              <a:prstGeom prst="rect">
                <a:avLst/>
              </a:prstGeom>
              <a:solidFill>
                <a:srgbClr val="C7E0FB"/>
              </a:solidFill>
              <a:ln w="3175">
                <a:noFill/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74409" tIns="74409" rIns="74409" bIns="74409" numCol="1" anchor="ctr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algn="ctr">
                  <a:buClr>
                    <a:srgbClr val="000000"/>
                  </a:buClr>
                  <a:defRPr/>
                </a:pPr>
                <a:r>
                  <a:rPr lang="en-US" sz="1400" b="1" kern="0" dirty="0">
                    <a:solidFill>
                      <a:srgbClr val="000000"/>
                    </a:solidFill>
                    <a:ea typeface="ＭＳ Ｐゴシック"/>
                  </a:rPr>
                  <a:t>Implementation/ Oversight (4%)</a:t>
                </a:r>
              </a:p>
            </p:txBody>
          </p:sp>
        </p:grpSp>
        <p:cxnSp>
          <p:nvCxnSpPr>
            <p:cNvPr id="39" name="Elbow Connector 38"/>
            <p:cNvCxnSpPr>
              <a:stCxn id="33" idx="3"/>
              <a:endCxn id="43" idx="1"/>
            </p:cNvCxnSpPr>
            <p:nvPr/>
          </p:nvCxnSpPr>
          <p:spPr>
            <a:xfrm>
              <a:off x="3404411" y="3538033"/>
              <a:ext cx="543237" cy="1651187"/>
            </a:xfrm>
            <a:prstGeom prst="bentConnector3">
              <a:avLst>
                <a:gd name="adj1" fmla="val 50000"/>
              </a:avLst>
            </a:prstGeom>
            <a:noFill/>
            <a:ln w="9525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5978989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2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046139"/>
              </p:ext>
            </p:extLst>
          </p:nvPr>
        </p:nvGraphicFramePr>
        <p:xfrm>
          <a:off x="183735" y="838200"/>
          <a:ext cx="8771546" cy="3727776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3550065">
                  <a:extLst>
                    <a:ext uri="{9D8B030D-6E8A-4147-A177-3AD203B41FA5}">
                      <a16:colId xmlns:a16="http://schemas.microsoft.com/office/drawing/2014/main" xmlns="" val="2680265998"/>
                    </a:ext>
                  </a:extLst>
                </a:gridCol>
                <a:gridCol w="522148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93187"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able Care</a:t>
                      </a:r>
                      <a:r>
                        <a:rPr lang="en-US" sz="1200" b="1" i="0" kern="1200" baseline="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ship Plans (Model A)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ccountable Care</a:t>
                      </a:r>
                      <a:r>
                        <a:rPr lang="en-US" sz="1200" b="1" i="0" kern="1200" baseline="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i="0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artnership Plans Collaborations</a:t>
                      </a: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887168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 Healthy Partnership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aystate Health Care Alliance with Health New England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670598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rkshire Fallon Health Collaborative 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 Collaborative of the Berkshires with Fallon Community Health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9345000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MC HealthNet  Plan Signature Allian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ignature Healthcare Corporation with Boston Medical Center 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Ne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73172370"/>
                  </a:ext>
                </a:extLst>
              </a:tr>
              <a:tr h="197783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MC HealthNet Plan Community Allian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ston Accountable Care Organization with Boston Medical Center 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Ne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9563089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MC HealthNet Plan Mercy Allian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32839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rcy Health Accountable Care Organization with Boston Medical Center 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Ne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0656557"/>
                  </a:ext>
                </a:extLst>
              </a:tr>
              <a:tr h="181543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MC HealthNet Plan Southcoast Allian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outhcoas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Health Network with Boston Medical Center 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Ne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27082024"/>
                  </a:ext>
                </a:extLst>
              </a:tr>
              <a:tr h="219585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allon 365 Car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liant Medical Group with Fallon Community Health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80237724"/>
                  </a:ext>
                </a:extLst>
              </a:tr>
              <a:tr h="219585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y Care Family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rrimack Valley ACO with Neighborhood Health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68791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fts Health Together with Atrius Health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rius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Health with Tufts Health Public Plans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fts Health Together with BIDCO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th Israel Deaconess Care Organization with Tufts Health Public Plans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78146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fts Health Together with Boston Children's ACO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hildren’s Hospital Integrated Care Organization with Tufts Health Public Plans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55254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ufts Health Together with CHA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mbridge Health Alliance with Tufts Health Public Plans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19585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lforce Care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ellforce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with Fallon Community Health Plan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163779"/>
              </p:ext>
            </p:extLst>
          </p:nvPr>
        </p:nvGraphicFramePr>
        <p:xfrm>
          <a:off x="185718" y="5715000"/>
          <a:ext cx="4310082" cy="73152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310082">
                  <a:extLst>
                    <a:ext uri="{9D8B030D-6E8A-4147-A177-3AD203B41FA5}">
                      <a16:colId xmlns:a16="http://schemas.microsoft.com/office/drawing/2014/main" xmlns="" val="2680265998"/>
                    </a:ext>
                  </a:extLst>
                </a:gridCol>
              </a:tblGrid>
              <a:tr h="272395"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effectLst/>
                        </a:rPr>
                        <a:t>MCO-Administered</a:t>
                      </a:r>
                      <a:r>
                        <a:rPr lang="en-US" sz="1200" b="1" kern="1200" baseline="0" dirty="0">
                          <a:solidFill>
                            <a:srgbClr val="002060"/>
                          </a:solidFill>
                          <a:effectLst/>
                        </a:rPr>
                        <a:t> ACO (Model C)</a:t>
                      </a:r>
                      <a:endParaRPr lang="en-US" sz="1200" b="1" i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887168"/>
                  </a:ext>
                </a:extLst>
              </a:tr>
              <a:tr h="247957">
                <a:tc>
                  <a:txBody>
                    <a:bodyPr/>
                    <a:lstStyle/>
                    <a:p>
                      <a:pPr marL="171450" marR="0" lvl="0" indent="-17145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ahey Clinical Performance</a:t>
                      </a:r>
                      <a:r>
                        <a:rPr lang="en-US" sz="1200" b="0" i="0" kern="1200" baseline="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Network (Participating with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oston Medical Center </a:t>
                      </a:r>
                      <a:r>
                        <a:rPr lang="en-US" sz="1200" dirty="0" err="1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Net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Plan</a:t>
                      </a:r>
                      <a:r>
                        <a:rPr lang="en-US" sz="1200" b="0" i="0" kern="1200" baseline="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and Tufts </a:t>
                      </a: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ealth Public Plans</a:t>
                      </a:r>
                      <a:r>
                        <a:rPr lang="en-US" sz="1200" b="0" i="0" kern="1200" baseline="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670598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091792"/>
              </p:ext>
            </p:extLst>
          </p:nvPr>
        </p:nvGraphicFramePr>
        <p:xfrm>
          <a:off x="183735" y="4701057"/>
          <a:ext cx="4312065" cy="844271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312065">
                  <a:extLst>
                    <a:ext uri="{9D8B030D-6E8A-4147-A177-3AD203B41FA5}">
                      <a16:colId xmlns:a16="http://schemas.microsoft.com/office/drawing/2014/main" xmlns="" val="2680265998"/>
                    </a:ext>
                  </a:extLst>
                </a:gridCol>
              </a:tblGrid>
              <a:tr h="255069"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effectLst/>
                        </a:rPr>
                        <a:t>Primary</a:t>
                      </a:r>
                      <a:r>
                        <a:rPr lang="en-US" sz="1200" b="1" kern="1200" baseline="0" dirty="0">
                          <a:solidFill>
                            <a:srgbClr val="002060"/>
                          </a:solidFill>
                          <a:effectLst/>
                        </a:rPr>
                        <a:t> Care ACO Plans (Model B)</a:t>
                      </a:r>
                      <a:endParaRPr lang="en-US" sz="1200" b="1" i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887168"/>
                  </a:ext>
                </a:extLst>
              </a:tr>
              <a:tr h="149902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Care Cooperative (C3)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670598"/>
                  </a:ext>
                </a:extLst>
              </a:tr>
              <a:tr h="195809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rtners HealthCare Choi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49345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indent="-17145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eward Health Choice</a:t>
                      </a:r>
                    </a:p>
                  </a:txBody>
                  <a:tcPr marL="68580" marR="68580" marT="0" marB="0" anchor="b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73172370"/>
                  </a:ext>
                </a:extLst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7629226"/>
              </p:ext>
            </p:extLst>
          </p:nvPr>
        </p:nvGraphicFramePr>
        <p:xfrm>
          <a:off x="4800600" y="4701057"/>
          <a:ext cx="4154681" cy="82296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154681">
                  <a:extLst>
                    <a:ext uri="{9D8B030D-6E8A-4147-A177-3AD203B41FA5}">
                      <a16:colId xmlns:a16="http://schemas.microsoft.com/office/drawing/2014/main" xmlns="" val="2680265998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effectLst/>
                        </a:rPr>
                        <a:t>MCOs</a:t>
                      </a:r>
                      <a:endParaRPr lang="en-US" sz="1200" b="1" i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88716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71450" marR="0" lvl="0" indent="-17145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ston Medical Center</a:t>
                      </a:r>
                      <a:r>
                        <a:rPr lang="en-US" sz="1200" b="0" i="0" kern="1200" baseline="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Health Plan (BMCHP)</a:t>
                      </a:r>
                      <a:endParaRPr lang="en-US" sz="1200" b="0" i="0" kern="1200" dirty="0">
                        <a:solidFill>
                          <a:srgbClr val="00206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670598"/>
                  </a:ext>
                </a:extLst>
              </a:tr>
              <a:tr h="220855">
                <a:tc>
                  <a:txBody>
                    <a:bodyPr/>
                    <a:lstStyle/>
                    <a:p>
                      <a:pPr marL="171450" marR="0" lvl="0" indent="-17145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i="0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ufts Public Plans (Tufts)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8425334"/>
              </p:ext>
            </p:extLst>
          </p:nvPr>
        </p:nvGraphicFramePr>
        <p:xfrm>
          <a:off x="4800600" y="5633190"/>
          <a:ext cx="4154681" cy="563600"/>
        </p:xfrm>
        <a:graphic>
          <a:graphicData uri="http://schemas.openxmlformats.org/drawingml/2006/table">
            <a:tbl>
              <a:tblPr firstRow="1" bandRow="1">
                <a:tableStyleId>{69CF1AB2-1976-4502-BF36-3FF5EA218861}</a:tableStyleId>
              </a:tblPr>
              <a:tblGrid>
                <a:gridCol w="4154681">
                  <a:extLst>
                    <a:ext uri="{9D8B030D-6E8A-4147-A177-3AD203B41FA5}">
                      <a16:colId xmlns:a16="http://schemas.microsoft.com/office/drawing/2014/main" xmlns="" val="2680265998"/>
                    </a:ext>
                  </a:extLst>
                </a:gridCol>
              </a:tblGrid>
              <a:tr h="258800">
                <a:tc>
                  <a:txBody>
                    <a:bodyPr/>
                    <a:lstStyle/>
                    <a:p>
                      <a:pPr marL="0" marR="0" lvl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200" b="1" kern="1200" dirty="0">
                          <a:solidFill>
                            <a:srgbClr val="002060"/>
                          </a:solidFill>
                          <a:effectLst/>
                        </a:rPr>
                        <a:t>PCC Plan</a:t>
                      </a:r>
                      <a:endParaRPr lang="en-US" sz="1200" b="1" i="0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13887168"/>
                  </a:ext>
                </a:extLst>
              </a:tr>
              <a:tr h="289280">
                <a:tc>
                  <a:txBody>
                    <a:bodyPr/>
                    <a:lstStyle/>
                    <a:p>
                      <a:pPr marL="171450" marR="0" lvl="0" indent="-17145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kern="120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mary care Providers in the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</a:rPr>
                        <a:t>PCC Plan</a:t>
                      </a:r>
                      <a:r>
                        <a:rPr lang="en-US" sz="1200" b="0" baseline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200" b="0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</a:rPr>
                        <a:t>network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3670598"/>
                  </a:ext>
                </a:extLst>
              </a:tr>
            </a:tbl>
          </a:graphicData>
        </a:graphic>
      </p:graphicFrame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57200" y="212303"/>
            <a:ext cx="8794113" cy="369332"/>
          </a:xfrm>
        </p:spPr>
        <p:txBody>
          <a:bodyPr/>
          <a:lstStyle/>
          <a:p>
            <a:pPr marL="3175" indent="-3175">
              <a:tabLst/>
            </a:pPr>
            <a:r>
              <a:rPr lang="en-US" sz="2400" dirty="0">
                <a:solidFill>
                  <a:srgbClr val="002060"/>
                </a:solidFill>
              </a:rPr>
              <a:t>MassHealth Health Plan Options for 2018</a:t>
            </a:r>
          </a:p>
        </p:txBody>
      </p:sp>
    </p:spTree>
    <p:extLst>
      <p:ext uri="{BB962C8B-B14F-4D97-AF65-F5344CB8AC3E}">
        <p14:creationId xmlns:p14="http://schemas.microsoft.com/office/powerpoint/2010/main" val="4081817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Box 28"/>
          <p:cNvSpPr txBox="1">
            <a:spLocks noChangeArrowheads="1"/>
          </p:cNvSpPr>
          <p:nvPr/>
        </p:nvSpPr>
        <p:spPr bwMode="auto">
          <a:xfrm>
            <a:off x="425667" y="689699"/>
            <a:ext cx="7627650" cy="1638558"/>
          </a:xfrm>
          <a:prstGeom prst="rect">
            <a:avLst/>
          </a:prstGeom>
          <a:noFill/>
          <a:ln w="9525" algn="in">
            <a:noFill/>
            <a:miter lim="800000"/>
            <a:headEnd/>
            <a:tailEnd/>
          </a:ln>
          <a:effectLst/>
          <a:extLst/>
        </p:spPr>
        <p:txBody>
          <a:bodyPr vert="horz" wrap="square" lIns="36576" tIns="36576" rIns="36576" bIns="36576" numCol="1" anchor="t" anchorCtr="0" compatLnSpc="1">
            <a:prstTxWarp prst="textNoShape">
              <a:avLst/>
            </a:prstTxWarp>
          </a:bodyPr>
          <a:lstStyle/>
          <a:p>
            <a:pPr marL="285750" marR="0" lvl="0" indent="-2857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r>
              <a:rPr lang="en-US" altLang="en-US" sz="1600" dirty="0">
                <a:solidFill>
                  <a:srgbClr val="002060"/>
                </a:solidFill>
                <a:latin typeface="+mj-lt"/>
                <a:cs typeface="Arial" pitchFamily="34" charset="0"/>
              </a:rPr>
              <a:t>Below are i</a:t>
            </a: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+mj-lt"/>
                <a:cs typeface="Arial" pitchFamily="34" charset="0"/>
              </a:rPr>
              <a:t>mportant dates for current managed care eligible members</a:t>
            </a:r>
            <a:r>
              <a:rPr lang="en-US" altLang="en-US" sz="1600" dirty="0">
                <a:solidFill>
                  <a:srgbClr val="002060"/>
                </a:solidFill>
                <a:latin typeface="+mj-lt"/>
                <a:cs typeface="Arial" pitchFamily="34" charset="0"/>
              </a:rPr>
              <a:t>. </a:t>
            </a:r>
          </a:p>
          <a:p>
            <a:pPr marL="285750" marR="0" lvl="0" indent="-2857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r>
              <a:rPr kumimoji="0" lang="en-US" altLang="en-US" sz="1600" b="0" i="0" u="none" strike="noStrike" cap="none" normalizeH="0" baseline="0" dirty="0">
                <a:ln>
                  <a:noFill/>
                </a:ln>
                <a:solidFill>
                  <a:srgbClr val="002060"/>
                </a:solidFill>
                <a:effectLst/>
                <a:latin typeface="+mj-lt"/>
                <a:cs typeface="Arial" pitchFamily="34" charset="0"/>
              </a:rPr>
              <a:t>For new</a:t>
            </a:r>
            <a:r>
              <a:rPr kumimoji="0" lang="en-US" altLang="en-US" sz="1600" b="0" i="0" u="none" strike="noStrike" cap="none" normalizeH="0" dirty="0">
                <a:ln>
                  <a:noFill/>
                </a:ln>
                <a:solidFill>
                  <a:srgbClr val="002060"/>
                </a:solidFill>
                <a:effectLst/>
                <a:latin typeface="+mj-lt"/>
                <a:cs typeface="Arial" pitchFamily="34" charset="0"/>
              </a:rPr>
              <a:t> managed care eligible members, after March 1, 2018 plan selection is the first 90 days after enrollment in an ACO/MCO, and fixed enrollment </a:t>
            </a:r>
            <a:r>
              <a:rPr lang="en-US" altLang="en-US" sz="1600" dirty="0">
                <a:solidFill>
                  <a:srgbClr val="002060"/>
                </a:solidFill>
                <a:latin typeface="+mj-lt"/>
                <a:cs typeface="Arial" pitchFamily="34" charset="0"/>
              </a:rPr>
              <a:t>is for the remaining 275 days of the year. </a:t>
            </a:r>
          </a:p>
          <a:p>
            <a:pPr marL="285750" marR="0" lvl="0" indent="-28575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charset="0"/>
              <a:buChar char="•"/>
              <a:tabLst/>
            </a:pPr>
            <a:r>
              <a:rPr lang="en-US" altLang="en-US" sz="1600" dirty="0">
                <a:solidFill>
                  <a:srgbClr val="002060"/>
                </a:solidFill>
                <a:latin typeface="+mj-lt"/>
                <a:cs typeface="Arial" pitchFamily="34" charset="0"/>
              </a:rPr>
              <a:t>All members have a new plan selection period every year.  </a:t>
            </a:r>
            <a:endParaRPr kumimoji="0" lang="en-US" altLang="en-US" sz="16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j-lt"/>
              <a:cs typeface="Arial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US" altLang="en-US" sz="24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j-lt"/>
              <a:cs typeface="Arial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US" altLang="en-US" sz="3600" b="1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j-lt"/>
              <a:cs typeface="Arial" pitchFamily="34" charset="0"/>
            </a:endParaRPr>
          </a:p>
          <a:p>
            <a:pPr marL="0" marR="0" lvl="0" indent="0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</a:pPr>
            <a:endParaRPr kumimoji="0" lang="en-US" altLang="en-US" sz="4800" b="0" i="0" u="none" strike="noStrike" cap="none" normalizeH="0" baseline="0" dirty="0">
              <a:ln>
                <a:noFill/>
              </a:ln>
              <a:solidFill>
                <a:srgbClr val="002060"/>
              </a:solidFill>
              <a:effectLst/>
              <a:latin typeface="+mj-lt"/>
              <a:cs typeface="Arial" pitchFamily="34" charset="0"/>
            </a:endParaRPr>
          </a:p>
        </p:txBody>
      </p:sp>
      <p:sp>
        <p:nvSpPr>
          <p:cNvPr id="30" name="Text Box 38"/>
          <p:cNvSpPr txBox="1">
            <a:spLocks noChangeArrowheads="1"/>
          </p:cNvSpPr>
          <p:nvPr/>
        </p:nvSpPr>
        <p:spPr bwMode="auto">
          <a:xfrm>
            <a:off x="487363" y="2706832"/>
            <a:ext cx="3844128" cy="8933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latin typeface="+mj-lt"/>
                <a:cs typeface="Arial" pitchFamily="34" charset="0"/>
              </a:rPr>
              <a:t>Members can choose and enroll in a new health plan for March 1, 2018. </a:t>
            </a:r>
          </a:p>
        </p:txBody>
      </p:sp>
      <p:sp>
        <p:nvSpPr>
          <p:cNvPr id="38" name="Right Brace 37"/>
          <p:cNvSpPr/>
          <p:nvPr/>
        </p:nvSpPr>
        <p:spPr>
          <a:xfrm rot="16200000">
            <a:off x="2231111" y="1723864"/>
            <a:ext cx="507051" cy="3994546"/>
          </a:xfrm>
          <a:prstGeom prst="rightBrace">
            <a:avLst>
              <a:gd name="adj1" fmla="val 8333"/>
              <a:gd name="adj2" fmla="val 47312"/>
            </a:avLst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cxnSp>
        <p:nvCxnSpPr>
          <p:cNvPr id="10269" name="Straight Arrow Connector 9"/>
          <p:cNvCxnSpPr>
            <a:cxnSpLocks noChangeShapeType="1"/>
            <a:stCxn id="22" idx="3"/>
          </p:cNvCxnSpPr>
          <p:nvPr/>
        </p:nvCxnSpPr>
        <p:spPr bwMode="auto">
          <a:xfrm>
            <a:off x="581820" y="4073086"/>
            <a:ext cx="7800180" cy="12382"/>
          </a:xfrm>
          <a:prstGeom prst="straightConnector1">
            <a:avLst/>
          </a:prstGeom>
          <a:noFill/>
          <a:ln w="38100" algn="ctr">
            <a:solidFill>
              <a:srgbClr val="4579B8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Flowchart: Decision 12"/>
          <p:cNvSpPr>
            <a:spLocks noChangeArrowheads="1"/>
          </p:cNvSpPr>
          <p:nvPr/>
        </p:nvSpPr>
        <p:spPr bwMode="auto">
          <a:xfrm>
            <a:off x="392908" y="3974661"/>
            <a:ext cx="188912" cy="196850"/>
          </a:xfrm>
          <a:prstGeom prst="flowChartDecision">
            <a:avLst/>
          </a:prstGeom>
          <a:solidFill>
            <a:srgbClr val="FFFFFF"/>
          </a:solidFill>
          <a:ln w="25400" algn="ctr">
            <a:solidFill>
              <a:srgbClr val="4F81BD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4" name="Flowchart: Decision 14"/>
          <p:cNvSpPr>
            <a:spLocks noChangeArrowheads="1"/>
          </p:cNvSpPr>
          <p:nvPr/>
        </p:nvSpPr>
        <p:spPr bwMode="auto">
          <a:xfrm>
            <a:off x="4453562" y="3984820"/>
            <a:ext cx="188913" cy="196850"/>
          </a:xfrm>
          <a:prstGeom prst="flowChartDecision">
            <a:avLst/>
          </a:prstGeom>
          <a:solidFill>
            <a:srgbClr val="92D050"/>
          </a:solidFill>
          <a:ln w="25400" algn="ctr">
            <a:solidFill>
              <a:srgbClr val="92D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5" name="Flowchart: Decision 15"/>
          <p:cNvSpPr>
            <a:spLocks noChangeArrowheads="1"/>
          </p:cNvSpPr>
          <p:nvPr/>
        </p:nvSpPr>
        <p:spPr bwMode="auto">
          <a:xfrm>
            <a:off x="7246937" y="3996250"/>
            <a:ext cx="190500" cy="196850"/>
          </a:xfrm>
          <a:prstGeom prst="flowChartDecision">
            <a:avLst/>
          </a:prstGeom>
          <a:solidFill>
            <a:srgbClr val="00B0F0"/>
          </a:solidFill>
          <a:ln w="25400" algn="ctr">
            <a:solidFill>
              <a:srgbClr val="4F81BD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6" name="Text Box 2"/>
          <p:cNvSpPr txBox="1">
            <a:spLocks noChangeArrowheads="1"/>
          </p:cNvSpPr>
          <p:nvPr/>
        </p:nvSpPr>
        <p:spPr bwMode="auto">
          <a:xfrm>
            <a:off x="0" y="4223309"/>
            <a:ext cx="1319214" cy="241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11/13/1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27" name="Text Box 35"/>
          <p:cNvSpPr txBox="1">
            <a:spLocks noChangeArrowheads="1"/>
          </p:cNvSpPr>
          <p:nvPr/>
        </p:nvSpPr>
        <p:spPr bwMode="auto">
          <a:xfrm>
            <a:off x="1943100" y="4181669"/>
            <a:ext cx="1409700" cy="466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12/22/17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28" name="Text Box 36"/>
          <p:cNvSpPr txBox="1">
            <a:spLocks noChangeArrowheads="1"/>
          </p:cNvSpPr>
          <p:nvPr/>
        </p:nvSpPr>
        <p:spPr bwMode="auto">
          <a:xfrm>
            <a:off x="3884933" y="4201991"/>
            <a:ext cx="952500" cy="241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3/1/1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29" name="Text Box 37"/>
          <p:cNvSpPr txBox="1">
            <a:spLocks noChangeArrowheads="1"/>
          </p:cNvSpPr>
          <p:nvPr/>
        </p:nvSpPr>
        <p:spPr bwMode="auto">
          <a:xfrm>
            <a:off x="6682977" y="4250127"/>
            <a:ext cx="1098550" cy="2905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6/1/18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31" name="Right Brace 21"/>
          <p:cNvSpPr>
            <a:spLocks/>
          </p:cNvSpPr>
          <p:nvPr/>
        </p:nvSpPr>
        <p:spPr bwMode="auto">
          <a:xfrm rot="5400000">
            <a:off x="1320484" y="3877662"/>
            <a:ext cx="425450" cy="1872299"/>
          </a:xfrm>
          <a:prstGeom prst="rightBrace">
            <a:avLst>
              <a:gd name="adj1" fmla="val 8347"/>
              <a:gd name="adj2" fmla="val 47310"/>
            </a:avLst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240" name="Text Box 40"/>
          <p:cNvSpPr txBox="1">
            <a:spLocks noChangeArrowheads="1"/>
          </p:cNvSpPr>
          <p:nvPr/>
        </p:nvSpPr>
        <p:spPr bwMode="auto">
          <a:xfrm>
            <a:off x="392908" y="5057328"/>
            <a:ext cx="2471981" cy="8969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Members receive letter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60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10241" name="Text Box 41"/>
          <p:cNvSpPr txBox="1">
            <a:spLocks noChangeArrowheads="1"/>
          </p:cNvSpPr>
          <p:nvPr/>
        </p:nvSpPr>
        <p:spPr bwMode="auto">
          <a:xfrm>
            <a:off x="3288110" y="4589914"/>
            <a:ext cx="2274490" cy="5254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Start of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Plan Selection Period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600" i="0" u="none" strike="noStrike" cap="none" normalizeH="0" baseline="0" dirty="0">
              <a:ln>
                <a:noFill/>
              </a:ln>
              <a:solidFill>
                <a:srgbClr val="333399"/>
              </a:solidFill>
              <a:effectLst/>
              <a:cs typeface="Arial" pitchFamily="34" charset="0"/>
            </a:endParaRPr>
          </a:p>
        </p:txBody>
      </p:sp>
      <p:sp>
        <p:nvSpPr>
          <p:cNvPr id="10242" name="Text Box 42"/>
          <p:cNvSpPr txBox="1">
            <a:spLocks noChangeArrowheads="1"/>
          </p:cNvSpPr>
          <p:nvPr/>
        </p:nvSpPr>
        <p:spPr bwMode="auto">
          <a:xfrm>
            <a:off x="5855342" y="4596313"/>
            <a:ext cx="2749550" cy="607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Start of </a:t>
            </a:r>
            <a:r>
              <a:rPr kumimoji="0" lang="en-US" altLang="en-US" sz="1600" b="1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cs typeface="Arial" pitchFamily="34" charset="0"/>
              </a:rPr>
              <a:t>Fixed Enrollment Period </a:t>
            </a:r>
          </a:p>
        </p:txBody>
      </p:sp>
      <p:sp>
        <p:nvSpPr>
          <p:cNvPr id="10243" name="Right Brace 26"/>
          <p:cNvSpPr>
            <a:spLocks/>
          </p:cNvSpPr>
          <p:nvPr/>
        </p:nvSpPr>
        <p:spPr bwMode="auto">
          <a:xfrm rot="-5400000">
            <a:off x="5673152" y="2301247"/>
            <a:ext cx="491686" cy="2846386"/>
          </a:xfrm>
          <a:prstGeom prst="rightBrace">
            <a:avLst>
              <a:gd name="adj1" fmla="val 8336"/>
              <a:gd name="adj2" fmla="val 47310"/>
            </a:avLst>
          </a:prstGeom>
          <a:solidFill>
            <a:srgbClr val="FFFFFF"/>
          </a:solidFill>
          <a:ln w="12700" algn="ctr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244" name="Text Box 44"/>
          <p:cNvSpPr txBox="1">
            <a:spLocks noChangeArrowheads="1"/>
          </p:cNvSpPr>
          <p:nvPr/>
        </p:nvSpPr>
        <p:spPr bwMode="auto">
          <a:xfrm>
            <a:off x="4130605" y="2721695"/>
            <a:ext cx="3792060" cy="614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rgbClr val="333399"/>
                </a:solidFill>
                <a:effectLst/>
                <a:latin typeface="+mj-lt"/>
                <a:cs typeface="Arial" pitchFamily="34" charset="0"/>
              </a:rPr>
              <a:t>Plan Selection Period. Members can change health plans for any reason.</a:t>
            </a:r>
          </a:p>
        </p:txBody>
      </p:sp>
      <p:sp>
        <p:nvSpPr>
          <p:cNvPr id="40" name="Text Box 41"/>
          <p:cNvSpPr txBox="1">
            <a:spLocks noChangeArrowheads="1"/>
          </p:cNvSpPr>
          <p:nvPr/>
        </p:nvSpPr>
        <p:spPr bwMode="auto">
          <a:xfrm>
            <a:off x="3012602" y="5263515"/>
            <a:ext cx="2697162" cy="1213485"/>
          </a:xfrm>
          <a:prstGeom prst="rect">
            <a:avLst/>
          </a:prstGeom>
          <a:solidFill>
            <a:srgbClr val="92D050"/>
          </a:solidFill>
          <a:ln w="9525" algn="ctr">
            <a:solidFill>
              <a:srgbClr val="92D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itchFamily="34" charset="0"/>
              </a:rPr>
              <a:t>Members will follow their PCP into a new ACO will enroll in a new health plan. </a:t>
            </a:r>
          </a:p>
        </p:txBody>
      </p:sp>
      <p:sp>
        <p:nvSpPr>
          <p:cNvPr id="42" name="Text Box 42"/>
          <p:cNvSpPr txBox="1">
            <a:spLocks noChangeArrowheads="1"/>
          </p:cNvSpPr>
          <p:nvPr/>
        </p:nvSpPr>
        <p:spPr bwMode="auto">
          <a:xfrm>
            <a:off x="5857477" y="5263515"/>
            <a:ext cx="2749550" cy="1213485"/>
          </a:xfrm>
          <a:prstGeom prst="rect">
            <a:avLst/>
          </a:prstGeom>
          <a:solidFill>
            <a:srgbClr val="00B0F0"/>
          </a:solidFill>
          <a:ln w="9525" algn="ctr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600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cs typeface="Arial" pitchFamily="34" charset="0"/>
              </a:rPr>
              <a:t> Members enrolled in an ACO or MCO can only change their health plans for certain reasons.</a:t>
            </a:r>
          </a:p>
        </p:txBody>
      </p:sp>
      <p:sp>
        <p:nvSpPr>
          <p:cNvPr id="23" name="Flowchart: Decision 13"/>
          <p:cNvSpPr>
            <a:spLocks noChangeArrowheads="1"/>
          </p:cNvSpPr>
          <p:nvPr/>
        </p:nvSpPr>
        <p:spPr bwMode="auto">
          <a:xfrm>
            <a:off x="2552700" y="3999425"/>
            <a:ext cx="190500" cy="196850"/>
          </a:xfrm>
          <a:prstGeom prst="flowChartDecision">
            <a:avLst/>
          </a:prstGeom>
          <a:solidFill>
            <a:srgbClr val="FFFFFF"/>
          </a:solidFill>
          <a:ln w="25400" algn="ctr">
            <a:solidFill>
              <a:srgbClr val="4F81BD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3" name="Title 1"/>
          <p:cNvSpPr txBox="1">
            <a:spLocks/>
          </p:cNvSpPr>
          <p:nvPr/>
        </p:nvSpPr>
        <p:spPr bwMode="auto">
          <a:xfrm>
            <a:off x="425667" y="216499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5" tIns="45712" rIns="91425" bIns="45712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1900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400" kern="0" dirty="0">
                <a:solidFill>
                  <a:srgbClr val="00206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mportant Member-Choice Dates</a:t>
            </a:r>
          </a:p>
        </p:txBody>
      </p:sp>
    </p:spTree>
    <p:extLst>
      <p:ext uri="{BB962C8B-B14F-4D97-AF65-F5344CB8AC3E}">
        <p14:creationId xmlns:p14="http://schemas.microsoft.com/office/powerpoint/2010/main" val="9013176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C64B2B71-A9E6-4907-9133-DD7E0A81BB7E}"/>
              </a:ext>
            </a:extLst>
          </p:cNvPr>
          <p:cNvSpPr txBox="1"/>
          <p:nvPr/>
        </p:nvSpPr>
        <p:spPr>
          <a:xfrm>
            <a:off x="289240" y="1942768"/>
            <a:ext cx="2037901" cy="2100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0" b="1" dirty="0">
                <a:solidFill>
                  <a:schemeClr val="tx2"/>
                </a:solidFill>
              </a:rPr>
              <a:t>1.89 </a:t>
            </a:r>
            <a:r>
              <a:rPr lang="en-US" sz="4050" b="1" dirty="0">
                <a:solidFill>
                  <a:schemeClr val="tx2"/>
                </a:solidFill>
              </a:rPr>
              <a:t>Million</a:t>
            </a:r>
          </a:p>
          <a:p>
            <a:r>
              <a:rPr lang="en-US" sz="3000" b="1" dirty="0">
                <a:solidFill>
                  <a:schemeClr val="tx2"/>
                </a:solidFill>
              </a:rPr>
              <a:t>Member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005C6112-0B5F-4AD4-ADE5-63DB65E7765F}"/>
              </a:ext>
            </a:extLst>
          </p:cNvPr>
          <p:cNvSpPr txBox="1"/>
          <p:nvPr/>
        </p:nvSpPr>
        <p:spPr>
          <a:xfrm>
            <a:off x="275138" y="4495751"/>
            <a:ext cx="186779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70% in Managed Ca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BCB7F675-AD5C-4043-AD0E-C49E1D0C6D25}"/>
              </a:ext>
            </a:extLst>
          </p:cNvPr>
          <p:cNvSpPr txBox="1"/>
          <p:nvPr/>
        </p:nvSpPr>
        <p:spPr>
          <a:xfrm>
            <a:off x="2950820" y="1933512"/>
            <a:ext cx="1967121" cy="21005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8000"/>
            </a:lvl1pPr>
          </a:lstStyle>
          <a:p>
            <a:r>
              <a:rPr lang="en-US" sz="6000" b="1" dirty="0">
                <a:solidFill>
                  <a:schemeClr val="tx2"/>
                </a:solidFill>
              </a:rPr>
              <a:t>$ 15</a:t>
            </a:r>
          </a:p>
          <a:p>
            <a:r>
              <a:rPr lang="en-US" sz="4050" b="1" dirty="0">
                <a:solidFill>
                  <a:schemeClr val="tx2"/>
                </a:solidFill>
              </a:rPr>
              <a:t>Billion</a:t>
            </a:r>
          </a:p>
          <a:p>
            <a:r>
              <a:rPr lang="en-US" sz="3000" b="1" dirty="0">
                <a:solidFill>
                  <a:schemeClr val="tx2"/>
                </a:solidFill>
              </a:rPr>
              <a:t>In 2016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C3775E1-1F55-4B5C-AE1C-C8EE782A0118}"/>
              </a:ext>
            </a:extLst>
          </p:cNvPr>
          <p:cNvSpPr/>
          <p:nvPr/>
        </p:nvSpPr>
        <p:spPr>
          <a:xfrm>
            <a:off x="5490435" y="1933511"/>
            <a:ext cx="3539752" cy="25622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>
                <a:solidFill>
                  <a:schemeClr val="accent2">
                    <a:lumMod val="75000"/>
                  </a:schemeClr>
                </a:solidFill>
              </a:rPr>
              <a:t>$1.4 </a:t>
            </a:r>
          </a:p>
          <a:p>
            <a:r>
              <a:rPr lang="en-US" sz="4050" b="1" dirty="0">
                <a:solidFill>
                  <a:schemeClr val="accent2">
                    <a:lumMod val="75000"/>
                  </a:schemeClr>
                </a:solidFill>
              </a:rPr>
              <a:t>Billion for</a:t>
            </a:r>
            <a:endParaRPr lang="en-US" sz="3000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sz="3000" b="1" dirty="0">
                <a:solidFill>
                  <a:schemeClr val="accent2">
                    <a:lumMod val="75000"/>
                  </a:schemeClr>
                </a:solidFill>
              </a:rPr>
              <a:t>Behavioral Health </a:t>
            </a:r>
          </a:p>
          <a:p>
            <a:r>
              <a:rPr lang="en-US" sz="3000" b="1" dirty="0">
                <a:solidFill>
                  <a:schemeClr val="accent2">
                    <a:lumMod val="75000"/>
                  </a:schemeClr>
                </a:solidFill>
              </a:rPr>
              <a:t>Specialty Car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4069FB76-CCF3-4CA4-AD7F-F3921F7EC12C}"/>
              </a:ext>
            </a:extLst>
          </p:cNvPr>
          <p:cNvSpPr txBox="1"/>
          <p:nvPr/>
        </p:nvSpPr>
        <p:spPr>
          <a:xfrm>
            <a:off x="2936716" y="4495751"/>
            <a:ext cx="20156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4000"/>
            </a:lvl1pPr>
          </a:lstStyle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40% of </a:t>
            </a:r>
          </a:p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State Budge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DA03D85-2481-4A6F-8B63-B98ED88172B1}"/>
              </a:ext>
            </a:extLst>
          </p:cNvPr>
          <p:cNvSpPr txBox="1"/>
          <p:nvPr/>
        </p:nvSpPr>
        <p:spPr>
          <a:xfrm>
            <a:off x="5490434" y="4495751"/>
            <a:ext cx="353975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62% Mental Health </a:t>
            </a:r>
          </a:p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14% Addictions</a:t>
            </a:r>
          </a:p>
          <a:p>
            <a:r>
              <a:rPr lang="en-US" sz="3000" dirty="0">
                <a:solidFill>
                  <a:schemeClr val="bg2">
                    <a:lumMod val="50000"/>
                  </a:schemeClr>
                </a:solidFill>
              </a:rPr>
              <a:t>24% Pharmacy</a:t>
            </a:r>
          </a:p>
          <a:p>
            <a:endParaRPr lang="en-US" sz="3000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1" name="Picture 10" descr="A picture containing clipart&#10;&#10;Description generated with very high confidence">
            <a:extLst>
              <a:ext uri="{FF2B5EF4-FFF2-40B4-BE49-F238E27FC236}">
                <a16:creationId xmlns:a16="http://schemas.microsoft.com/office/drawing/2014/main" xmlns="" id="{278724BF-BCE2-4C5C-9A96-4EBDFE4993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424586"/>
            <a:ext cx="2410428" cy="123611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C98AC715-DCD1-4FF9-918C-959116F58C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15000" y="304800"/>
            <a:ext cx="2472478" cy="1475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02515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893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93" y="1623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95731" y="6593207"/>
            <a:ext cx="548000" cy="259998"/>
          </a:xfrm>
        </p:spPr>
        <p:txBody>
          <a:bodyPr/>
          <a:lstStyle/>
          <a:p>
            <a:fld id="{1B845CE2-52C6-D640-906F-6FEE9CFEE2EC}" type="slidenum">
              <a:rPr lang="en-US" sz="918"/>
              <a:pPr/>
              <a:t>7</a:t>
            </a:fld>
            <a:endParaRPr lang="en-US" sz="918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1764" y="234864"/>
            <a:ext cx="8793595" cy="596653"/>
          </a:xfrm>
        </p:spPr>
        <p:txBody>
          <a:bodyPr/>
          <a:lstStyle/>
          <a:p>
            <a:r>
              <a:rPr lang="en-US" dirty="0"/>
              <a:t>We are strengthening treatment and supports for individuals with behavioral health needs by:</a:t>
            </a:r>
          </a:p>
        </p:txBody>
      </p:sp>
      <p:sp>
        <p:nvSpPr>
          <p:cNvPr id="21" name="Rectangle 8"/>
          <p:cNvSpPr txBox="1"/>
          <p:nvPr/>
        </p:nvSpPr>
        <p:spPr>
          <a:xfrm>
            <a:off x="1013716" y="1284499"/>
            <a:ext cx="7366596" cy="4798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Aft>
                <a:spcPts val="204"/>
              </a:spcAft>
            </a:pPr>
            <a:r>
              <a:rPr lang="en-US" sz="1837" b="1" dirty="0"/>
              <a:t>Making significant investments in the behavioral health system</a:t>
            </a:r>
          </a:p>
          <a:p>
            <a:pPr lvl="2">
              <a:spcAft>
                <a:spcPts val="204"/>
              </a:spcAft>
            </a:pPr>
            <a:r>
              <a:rPr lang="en-US" sz="1837" dirty="0"/>
              <a:t>Over $600 million in new funding from Fiscal Year 2016-2020 to address treatment gaps (e.g., ED boarding) and to increase service rates</a:t>
            </a:r>
          </a:p>
          <a:p>
            <a:pPr lvl="2">
              <a:spcAft>
                <a:spcPts val="204"/>
              </a:spcAft>
            </a:pPr>
            <a:r>
              <a:rPr lang="en-US" sz="1837" dirty="0"/>
              <a:t>Significant expansion of capacity for addiction treatment </a:t>
            </a:r>
          </a:p>
          <a:p>
            <a:pPr marL="199226" lvl="2" indent="0">
              <a:spcAft>
                <a:spcPts val="204"/>
              </a:spcAft>
              <a:buNone/>
            </a:pPr>
            <a:endParaRPr lang="en-US" sz="1837" dirty="0"/>
          </a:p>
          <a:p>
            <a:pPr lvl="1">
              <a:spcAft>
                <a:spcPts val="204"/>
              </a:spcAft>
            </a:pPr>
            <a:r>
              <a:rPr lang="en-US" sz="1837" b="1" dirty="0"/>
              <a:t>Improving care coordination and health outcomes for </a:t>
            </a:r>
            <a:r>
              <a:rPr lang="en-US" sz="1837" b="1" dirty="0" err="1"/>
              <a:t>MassHealth</a:t>
            </a:r>
            <a:r>
              <a:rPr lang="en-US" sz="1837" b="1" dirty="0"/>
              <a:t> members with serious mental illness and/or addiction treatment needs through the creation of Behavioral Health Community Partners (BH CP), launching in June 2018</a:t>
            </a:r>
          </a:p>
          <a:p>
            <a:pPr lvl="2">
              <a:spcAft>
                <a:spcPts val="204"/>
              </a:spcAft>
            </a:pPr>
            <a:r>
              <a:rPr lang="en-US" sz="1837" dirty="0"/>
              <a:t>Provides enhanced care coordination and navigation across all aspects of care – physical, behavioral, disability, social services</a:t>
            </a:r>
          </a:p>
          <a:p>
            <a:pPr lvl="1">
              <a:spcAft>
                <a:spcPts val="204"/>
              </a:spcAft>
            </a:pPr>
            <a:endParaRPr lang="en-US" sz="1837" dirty="0"/>
          </a:p>
          <a:p>
            <a:pPr lvl="1">
              <a:spcAft>
                <a:spcPts val="204"/>
              </a:spcAft>
            </a:pPr>
            <a:r>
              <a:rPr lang="en-US" sz="1837" b="1" dirty="0"/>
              <a:t>Restructuring and strengthening the Department of Mental Health’s Adult Community Clinical Services (ACCS) program </a:t>
            </a:r>
            <a:r>
              <a:rPr lang="en-US" sz="1837" dirty="0"/>
              <a:t>(formerly known as CBFS) </a:t>
            </a:r>
            <a:r>
              <a:rPr lang="en-US" sz="1837" b="1" dirty="0"/>
              <a:t>starting in July 2018</a:t>
            </a:r>
            <a:endParaRPr lang="en-US" sz="1837" dirty="0"/>
          </a:p>
        </p:txBody>
      </p:sp>
      <p:sp>
        <p:nvSpPr>
          <p:cNvPr id="2" name="Oval 1"/>
          <p:cNvSpPr/>
          <p:nvPr/>
        </p:nvSpPr>
        <p:spPr>
          <a:xfrm>
            <a:off x="596974" y="1233861"/>
            <a:ext cx="335870" cy="33960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37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7" name="Oval 6"/>
          <p:cNvSpPr/>
          <p:nvPr/>
        </p:nvSpPr>
        <p:spPr>
          <a:xfrm>
            <a:off x="595753" y="2931030"/>
            <a:ext cx="335870" cy="33960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37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0" name="Oval 9"/>
          <p:cNvSpPr/>
          <p:nvPr/>
        </p:nvSpPr>
        <p:spPr>
          <a:xfrm>
            <a:off x="595753" y="5067414"/>
            <a:ext cx="335870" cy="339605"/>
          </a:xfrm>
          <a:prstGeom prst="ellipse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837" b="1" dirty="0">
                <a:solidFill>
                  <a:schemeClr val="tx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2423042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xmlns="" id="{7618747C-CCCA-492F-9EEC-1F89210DC1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8438090"/>
              </p:ext>
            </p:extLst>
          </p:nvPr>
        </p:nvGraphicFramePr>
        <p:xfrm>
          <a:off x="76200" y="-101722"/>
          <a:ext cx="9677400" cy="70614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75454" y="1210144"/>
            <a:ext cx="7373146" cy="553998"/>
          </a:xfrm>
        </p:spPr>
        <p:txBody>
          <a:bodyPr/>
          <a:lstStyle/>
          <a:p>
            <a:r>
              <a:rPr lang="en-US" sz="1800" i="1" dirty="0">
                <a:solidFill>
                  <a:srgbClr val="002060"/>
                </a:solidFill>
              </a:rPr>
              <a:t>1115 Waiver </a:t>
            </a:r>
            <a:r>
              <a:rPr lang="en-US" sz="1800" dirty="0">
                <a:solidFill>
                  <a:srgbClr val="002060"/>
                </a:solidFill>
              </a:rPr>
              <a:t>Provisions for Enhance Treatment for Addiction and Co-Occurring Disorders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xmlns="" id="{8B222695-ACEF-4482-A6DF-1CDD72265AE4}"/>
              </a:ext>
            </a:extLst>
          </p:cNvPr>
          <p:cNvCxnSpPr>
            <a:cxnSpLocks/>
          </p:cNvCxnSpPr>
          <p:nvPr/>
        </p:nvCxnSpPr>
        <p:spPr>
          <a:xfrm>
            <a:off x="2057400" y="3505200"/>
            <a:ext cx="53340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xmlns="" id="{756D8DF1-6D65-4046-A4C2-01A6466CDB5B}"/>
              </a:ext>
            </a:extLst>
          </p:cNvPr>
          <p:cNvCxnSpPr>
            <a:cxnSpLocks/>
          </p:cNvCxnSpPr>
          <p:nvPr/>
        </p:nvCxnSpPr>
        <p:spPr>
          <a:xfrm>
            <a:off x="4419600" y="3495040"/>
            <a:ext cx="381000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Left Bracket 17">
            <a:extLst>
              <a:ext uri="{FF2B5EF4-FFF2-40B4-BE49-F238E27FC236}">
                <a16:creationId xmlns:a16="http://schemas.microsoft.com/office/drawing/2014/main" xmlns="" id="{2E3C02C0-0CA7-474B-8DBF-2DA04679EBF2}"/>
              </a:ext>
            </a:extLst>
          </p:cNvPr>
          <p:cNvSpPr/>
          <p:nvPr/>
        </p:nvSpPr>
        <p:spPr>
          <a:xfrm>
            <a:off x="4876800" y="1981200"/>
            <a:ext cx="152400" cy="3200391"/>
          </a:xfrm>
          <a:prstGeom prst="leftBracket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2946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47"/>
          <p:cNvSpPr txBox="1">
            <a:spLocks noGrp="1"/>
          </p:cNvSpPr>
          <p:nvPr>
            <p:ph type="title"/>
          </p:nvPr>
        </p:nvSpPr>
        <p:spPr>
          <a:xfrm>
            <a:off x="384114" y="999232"/>
            <a:ext cx="7686866" cy="471474"/>
          </a:xfrm>
          <a:prstGeom prst="rect">
            <a:avLst/>
          </a:prstGeom>
        </p:spPr>
        <p:txBody>
          <a:bodyPr vert="horz" wrap="square" lIns="0" tIns="9714" rIns="0" bIns="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9713" marR="3886" indent="-486">
              <a:spcBef>
                <a:spcPts val="77"/>
              </a:spcBef>
              <a:tabLst>
                <a:tab pos="3011215" algn="l"/>
              </a:tabLst>
            </a:pPr>
            <a:r>
              <a:rPr sz="1500" spc="-8" dirty="0"/>
              <a:t>MassHealth </a:t>
            </a:r>
            <a:r>
              <a:rPr sz="1500" spc="-11" dirty="0"/>
              <a:t>covers </a:t>
            </a:r>
            <a:r>
              <a:rPr sz="1500" spc="-8" dirty="0"/>
              <a:t>behavioral </a:t>
            </a:r>
            <a:r>
              <a:rPr sz="1500" spc="-4" dirty="0"/>
              <a:t>health </a:t>
            </a:r>
            <a:r>
              <a:rPr sz="1500" spc="-11" dirty="0"/>
              <a:t>services </a:t>
            </a:r>
            <a:r>
              <a:rPr sz="1500" dirty="0"/>
              <a:t>for </a:t>
            </a:r>
            <a:r>
              <a:rPr sz="1500" spc="-4" dirty="0"/>
              <a:t>all </a:t>
            </a:r>
            <a:r>
              <a:rPr sz="1500" spc="-8" dirty="0"/>
              <a:t>members</a:t>
            </a:r>
            <a:r>
              <a:rPr lang="en-US" sz="1500" spc="-8" dirty="0"/>
              <a:t> and funds </a:t>
            </a:r>
            <a:r>
              <a:rPr sz="1500" spc="-8" dirty="0"/>
              <a:t>enhanced  </a:t>
            </a:r>
            <a:r>
              <a:rPr sz="1500" spc="-11" dirty="0"/>
              <a:t>services </a:t>
            </a:r>
            <a:r>
              <a:rPr sz="1500" spc="-4" dirty="0"/>
              <a:t>through BH CP</a:t>
            </a:r>
            <a:r>
              <a:rPr sz="1500" spc="84" dirty="0"/>
              <a:t> </a:t>
            </a:r>
            <a:r>
              <a:rPr sz="1500" spc="-4" dirty="0"/>
              <a:t>and</a:t>
            </a:r>
            <a:r>
              <a:rPr sz="1500" spc="8" dirty="0"/>
              <a:t> </a:t>
            </a:r>
            <a:r>
              <a:rPr sz="1500" spc="-15" dirty="0"/>
              <a:t>ACCS</a:t>
            </a:r>
            <a:r>
              <a:rPr lang="en-US" sz="1500" spc="-15" dirty="0"/>
              <a:t> </a:t>
            </a:r>
            <a:r>
              <a:rPr sz="1500" dirty="0"/>
              <a:t>for </a:t>
            </a:r>
            <a:r>
              <a:rPr sz="1500" spc="-4" dirty="0"/>
              <a:t>members </a:t>
            </a:r>
            <a:r>
              <a:rPr sz="1500" spc="4" dirty="0"/>
              <a:t>with </a:t>
            </a:r>
            <a:r>
              <a:rPr sz="1500" spc="-4" dirty="0"/>
              <a:t>complex</a:t>
            </a:r>
            <a:r>
              <a:rPr sz="1500" spc="-50" dirty="0"/>
              <a:t> </a:t>
            </a:r>
            <a:r>
              <a:rPr sz="1500" spc="-4" dirty="0"/>
              <a:t>needs</a:t>
            </a:r>
            <a:endParaRPr sz="1500" dirty="0"/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xmlns="" id="{5B7CDC62-14BE-4B9E-A876-777A264D4B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39250" y="1643824"/>
            <a:ext cx="7335077" cy="4356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8586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T08kezgUGxSK9t4mBY9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15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SC_CF_NYS006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89611" tIns="44806" rIns="89611" bIns="44806" rtlCol="0">
        <a:spAutoFit/>
      </a:bodyPr>
      <a:lstStyle>
        <a:defPPr marL="222264">
          <a:defRPr sz="1000" i="1" dirty="0" err="1" smtClean="0"/>
        </a:defPPr>
      </a:lstStyle>
    </a:txDef>
  </a:objectDefaults>
  <a:extraClrSchemeLst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473</TotalTime>
  <Words>1437</Words>
  <Application>Microsoft Office PowerPoint</Application>
  <PresentationFormat>Letter Paper (8.5x11 in)</PresentationFormat>
  <Paragraphs>182</Paragraphs>
  <Slides>14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8" baseType="lpstr">
      <vt:lpstr>15_SRM_CF_DG1140</vt:lpstr>
      <vt:lpstr>BSC_CF_NYS006</vt:lpstr>
      <vt:lpstr>think-cell Slide</vt:lpstr>
      <vt:lpstr>Document</vt:lpstr>
      <vt:lpstr>PowerPoint Presentation</vt:lpstr>
      <vt:lpstr>MassHealth Payment and Care Delivery Innovation (PCDI)</vt:lpstr>
      <vt:lpstr>PowerPoint Presentation</vt:lpstr>
      <vt:lpstr>MassHealth Health Plan Options for 2018</vt:lpstr>
      <vt:lpstr>PowerPoint Presentation</vt:lpstr>
      <vt:lpstr>PowerPoint Presentation</vt:lpstr>
      <vt:lpstr>We are strengthening treatment and supports for individuals with behavioral health needs by:</vt:lpstr>
      <vt:lpstr>1115 Waiver Provisions for Enhance Treatment for Addiction and Co-Occurring Disorders</vt:lpstr>
      <vt:lpstr>MassHealth covers behavioral health services for all members and funds enhanced  services through BH CP and ACCS for members with complex needs</vt:lpstr>
      <vt:lpstr>Overview: Community Partners Program</vt:lpstr>
      <vt:lpstr>Behavioral Health Community Partners (BH CP): how it helps MassHealth adult members and family members navigate and coordinate care</vt:lpstr>
      <vt:lpstr>PowerPoint Presentation</vt:lpstr>
      <vt:lpstr>The following is a list of the entities that have been contracted as MassHealth Behavioral Health Community Partners  (1/2)</vt:lpstr>
      <vt:lpstr>The following is a list of the entities that have been contracted  as  MassHealth Behavioral Health Community Partners  (2/2)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at is the MassHealth Payment Reform Initiative?</dc:title>
  <dc:creator>Tim Sullivan</dc:creator>
  <cp:lastModifiedBy> </cp:lastModifiedBy>
  <cp:revision>159</cp:revision>
  <cp:lastPrinted>2017-12-08T17:05:22Z</cp:lastPrinted>
  <dcterms:created xsi:type="dcterms:W3CDTF">2017-10-27T14:31:55Z</dcterms:created>
  <dcterms:modified xsi:type="dcterms:W3CDTF">2018-01-22T16:16:34Z</dcterms:modified>
</cp:coreProperties>
</file>